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10"/>
  </p:notesMasterIdLst>
  <p:sldIdLst>
    <p:sldId id="267" r:id="rId6"/>
    <p:sldId id="266" r:id="rId7"/>
    <p:sldId id="262" r:id="rId8"/>
    <p:sldId id="261" r:id="rId9"/>
  </p:sldIdLst>
  <p:sldSz cx="7559675" cy="8640763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58" userDrawn="1">
          <p15:clr>
            <a:srgbClr val="A4A3A4"/>
          </p15:clr>
        </p15:guide>
        <p15:guide id="2" pos="238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6E2D7E9-4A91-C173-26A5-782A222C8044}" name="Koopmans, T. (Timo)" initials="KT(" userId="S::t.koopmans@uu.nl::8677436e-97d2-4168-b3e4-87926c976c2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57AF9F"/>
    <a:srgbClr val="0097C4"/>
    <a:srgbClr val="706F6F"/>
    <a:srgbClr val="FEC800"/>
    <a:srgbClr val="0065AE"/>
    <a:srgbClr val="0706F6"/>
    <a:srgbClr val="503D00"/>
    <a:srgbClr val="9BA92D"/>
    <a:srgbClr val="CC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519BB8-8CFD-49A1-B2CA-156B3D58582F}" v="81" dt="2026-01-26T14:01:34.9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2784" y="120"/>
      </p:cViewPr>
      <p:guideLst>
        <p:guide orient="horz" pos="285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gelet, A.J. (Anouk)" userId="52408ba3-1c1c-417d-b543-2b353b716a77" providerId="ADAL" clId="{8E519BB8-8CFD-49A1-B2CA-156B3D58582F}"/>
    <pc:docChg chg="undo custSel addSld delSld modSld">
      <pc:chgData name="Dagelet, A.J. (Anouk)" userId="52408ba3-1c1c-417d-b543-2b353b716a77" providerId="ADAL" clId="{8E519BB8-8CFD-49A1-B2CA-156B3D58582F}" dt="2026-01-26T14:20:38.924" v="1990" actId="20577"/>
      <pc:docMkLst>
        <pc:docMk/>
      </pc:docMkLst>
      <pc:sldChg chg="addSp delSp modSp mod">
        <pc:chgData name="Dagelet, A.J. (Anouk)" userId="52408ba3-1c1c-417d-b543-2b353b716a77" providerId="ADAL" clId="{8E519BB8-8CFD-49A1-B2CA-156B3D58582F}" dt="2026-01-26T14:20:38.924" v="1990" actId="20577"/>
        <pc:sldMkLst>
          <pc:docMk/>
          <pc:sldMk cId="1895740513" sldId="261"/>
        </pc:sldMkLst>
        <pc:spChg chg="add del mod">
          <ac:chgData name="Dagelet, A.J. (Anouk)" userId="52408ba3-1c1c-417d-b543-2b353b716a77" providerId="ADAL" clId="{8E519BB8-8CFD-49A1-B2CA-156B3D58582F}" dt="2026-01-26T14:05:23.833" v="1557" actId="478"/>
          <ac:spMkLst>
            <pc:docMk/>
            <pc:sldMk cId="1895740513" sldId="261"/>
            <ac:spMk id="3" creationId="{14CB9B07-0EFA-F8EC-F895-1680BCF0D398}"/>
          </ac:spMkLst>
        </pc:spChg>
        <pc:spChg chg="add del mod">
          <ac:chgData name="Dagelet, A.J. (Anouk)" userId="52408ba3-1c1c-417d-b543-2b353b716a77" providerId="ADAL" clId="{8E519BB8-8CFD-49A1-B2CA-156B3D58582F}" dt="2026-01-26T14:05:10.197" v="1553" actId="478"/>
          <ac:spMkLst>
            <pc:docMk/>
            <pc:sldMk cId="1895740513" sldId="261"/>
            <ac:spMk id="5" creationId="{2B26C9EC-3A06-8878-AC53-83804311F0F6}"/>
          </ac:spMkLst>
        </pc:spChg>
        <pc:spChg chg="add del mod">
          <ac:chgData name="Dagelet, A.J. (Anouk)" userId="52408ba3-1c1c-417d-b543-2b353b716a77" providerId="ADAL" clId="{8E519BB8-8CFD-49A1-B2CA-156B3D58582F}" dt="2026-01-26T14:05:18.147" v="1555" actId="478"/>
          <ac:spMkLst>
            <pc:docMk/>
            <pc:sldMk cId="1895740513" sldId="261"/>
            <ac:spMk id="6" creationId="{08D09F6F-53BA-A101-1CF9-98917A1B55F3}"/>
          </ac:spMkLst>
        </pc:spChg>
        <pc:spChg chg="del">
          <ac:chgData name="Dagelet, A.J. (Anouk)" userId="52408ba3-1c1c-417d-b543-2b353b716a77" providerId="ADAL" clId="{8E519BB8-8CFD-49A1-B2CA-156B3D58582F}" dt="2026-01-26T14:05:07.893" v="1552" actId="478"/>
          <ac:spMkLst>
            <pc:docMk/>
            <pc:sldMk cId="1895740513" sldId="261"/>
            <ac:spMk id="8" creationId="{2F9EA996-8CA6-2610-A90A-CC7FCCCC6585}"/>
          </ac:spMkLst>
        </pc:spChg>
        <pc:spChg chg="del">
          <ac:chgData name="Dagelet, A.J. (Anouk)" userId="52408ba3-1c1c-417d-b543-2b353b716a77" providerId="ADAL" clId="{8E519BB8-8CFD-49A1-B2CA-156B3D58582F}" dt="2026-01-26T14:05:21.350" v="1556" actId="478"/>
          <ac:spMkLst>
            <pc:docMk/>
            <pc:sldMk cId="1895740513" sldId="261"/>
            <ac:spMk id="9" creationId="{8C193623-3201-A713-FF41-B7697685B6F0}"/>
          </ac:spMkLst>
        </pc:spChg>
        <pc:spChg chg="del">
          <ac:chgData name="Dagelet, A.J. (Anouk)" userId="52408ba3-1c1c-417d-b543-2b353b716a77" providerId="ADAL" clId="{8E519BB8-8CFD-49A1-B2CA-156B3D58582F}" dt="2026-01-26T14:05:15.387" v="1554" actId="478"/>
          <ac:spMkLst>
            <pc:docMk/>
            <pc:sldMk cId="1895740513" sldId="261"/>
            <ac:spMk id="11" creationId="{C4268134-91F5-FF98-8C5B-AB69C9010809}"/>
          </ac:spMkLst>
        </pc:spChg>
        <pc:spChg chg="mod">
          <ac:chgData name="Dagelet, A.J. (Anouk)" userId="52408ba3-1c1c-417d-b543-2b353b716a77" providerId="ADAL" clId="{8E519BB8-8CFD-49A1-B2CA-156B3D58582F}" dt="2026-01-26T14:20:38.924" v="1990" actId="20577"/>
          <ac:spMkLst>
            <pc:docMk/>
            <pc:sldMk cId="1895740513" sldId="261"/>
            <ac:spMk id="22" creationId="{C3AE4849-9BCA-E99E-AFD5-0ECE53399321}"/>
          </ac:spMkLst>
        </pc:spChg>
        <pc:spChg chg="del">
          <ac:chgData name="Dagelet, A.J. (Anouk)" userId="52408ba3-1c1c-417d-b543-2b353b716a77" providerId="ADAL" clId="{8E519BB8-8CFD-49A1-B2CA-156B3D58582F}" dt="2026-01-26T14:17:45.936" v="1968" actId="478"/>
          <ac:spMkLst>
            <pc:docMk/>
            <pc:sldMk cId="1895740513" sldId="261"/>
            <ac:spMk id="24" creationId="{6E3E0410-9EC6-26A7-8DFA-8E8C31035E18}"/>
          </ac:spMkLst>
        </pc:spChg>
        <pc:picChg chg="mod">
          <ac:chgData name="Dagelet, A.J. (Anouk)" userId="52408ba3-1c1c-417d-b543-2b353b716a77" providerId="ADAL" clId="{8E519BB8-8CFD-49A1-B2CA-156B3D58582F}" dt="2026-01-26T14:17:52.528" v="1969" actId="1076"/>
          <ac:picMkLst>
            <pc:docMk/>
            <pc:sldMk cId="1895740513" sldId="261"/>
            <ac:picMk id="15" creationId="{EF1BA435-4059-5ECC-C6AA-5B1225C2602C}"/>
          </ac:picMkLst>
        </pc:picChg>
        <pc:picChg chg="mod">
          <ac:chgData name="Dagelet, A.J. (Anouk)" userId="52408ba3-1c1c-417d-b543-2b353b716a77" providerId="ADAL" clId="{8E519BB8-8CFD-49A1-B2CA-156B3D58582F}" dt="2026-01-26T14:18:01.257" v="1970" actId="1076"/>
          <ac:picMkLst>
            <pc:docMk/>
            <pc:sldMk cId="1895740513" sldId="261"/>
            <ac:picMk id="26" creationId="{1EF691AB-A4D9-5900-8536-D97FB70B0613}"/>
          </ac:picMkLst>
        </pc:picChg>
      </pc:sldChg>
      <pc:sldChg chg="addSp delSp modSp mod">
        <pc:chgData name="Dagelet, A.J. (Anouk)" userId="52408ba3-1c1c-417d-b543-2b353b716a77" providerId="ADAL" clId="{8E519BB8-8CFD-49A1-B2CA-156B3D58582F}" dt="2026-01-26T14:04:07.341" v="1550" actId="20577"/>
        <pc:sldMkLst>
          <pc:docMk/>
          <pc:sldMk cId="606842693" sldId="262"/>
        </pc:sldMkLst>
        <pc:spChg chg="add mod">
          <ac:chgData name="Dagelet, A.J. (Anouk)" userId="52408ba3-1c1c-417d-b543-2b353b716a77" providerId="ADAL" clId="{8E519BB8-8CFD-49A1-B2CA-156B3D58582F}" dt="2026-01-26T14:02:38.117" v="1548" actId="1076"/>
          <ac:spMkLst>
            <pc:docMk/>
            <pc:sldMk cId="606842693" sldId="262"/>
            <ac:spMk id="6" creationId="{FAF66115-7BED-16AE-32E9-8501654D8C2A}"/>
          </ac:spMkLst>
        </pc:spChg>
        <pc:spChg chg="del mod">
          <ac:chgData name="Dagelet, A.J. (Anouk)" userId="52408ba3-1c1c-417d-b543-2b353b716a77" providerId="ADAL" clId="{8E519BB8-8CFD-49A1-B2CA-156B3D58582F}" dt="2026-01-26T12:44:02.472" v="1012" actId="478"/>
          <ac:spMkLst>
            <pc:docMk/>
            <pc:sldMk cId="606842693" sldId="262"/>
            <ac:spMk id="10" creationId="{9D88889D-78B3-CF1A-0F76-47011CC94746}"/>
          </ac:spMkLst>
        </pc:spChg>
        <pc:spChg chg="mod">
          <ac:chgData name="Dagelet, A.J. (Anouk)" userId="52408ba3-1c1c-417d-b543-2b353b716a77" providerId="ADAL" clId="{8E519BB8-8CFD-49A1-B2CA-156B3D58582F}" dt="2026-01-26T13:01:45.412" v="1176" actId="14100"/>
          <ac:spMkLst>
            <pc:docMk/>
            <pc:sldMk cId="606842693" sldId="262"/>
            <ac:spMk id="11" creationId="{46770B13-9C18-4C24-807E-485E2753D828}"/>
          </ac:spMkLst>
        </pc:spChg>
        <pc:spChg chg="add mod">
          <ac:chgData name="Dagelet, A.J. (Anouk)" userId="52408ba3-1c1c-417d-b543-2b353b716a77" providerId="ADAL" clId="{8E519BB8-8CFD-49A1-B2CA-156B3D58582F}" dt="2026-01-26T13:26:45.353" v="1437" actId="20577"/>
          <ac:spMkLst>
            <pc:docMk/>
            <pc:sldMk cId="606842693" sldId="262"/>
            <ac:spMk id="13" creationId="{A8A0C3C8-1E63-C45C-9F4E-A88CA539CC43}"/>
          </ac:spMkLst>
        </pc:spChg>
        <pc:spChg chg="add del mod">
          <ac:chgData name="Dagelet, A.J. (Anouk)" userId="52408ba3-1c1c-417d-b543-2b353b716a77" providerId="ADAL" clId="{8E519BB8-8CFD-49A1-B2CA-156B3D58582F}" dt="2026-01-26T14:01:22.849" v="1537" actId="478"/>
          <ac:spMkLst>
            <pc:docMk/>
            <pc:sldMk cId="606842693" sldId="262"/>
            <ac:spMk id="15" creationId="{0AA0FFA1-FEA8-F435-5075-AB293CC6B69B}"/>
          </ac:spMkLst>
        </pc:spChg>
        <pc:spChg chg="mod">
          <ac:chgData name="Dagelet, A.J. (Anouk)" userId="52408ba3-1c1c-417d-b543-2b353b716a77" providerId="ADAL" clId="{8E519BB8-8CFD-49A1-B2CA-156B3D58582F}" dt="2026-01-26T13:25:22.451" v="1433" actId="20577"/>
          <ac:spMkLst>
            <pc:docMk/>
            <pc:sldMk cId="606842693" sldId="262"/>
            <ac:spMk id="17" creationId="{B64F5C77-9651-8951-3FBF-74ED8B983B5B}"/>
          </ac:spMkLst>
        </pc:spChg>
        <pc:spChg chg="mod">
          <ac:chgData name="Dagelet, A.J. (Anouk)" userId="52408ba3-1c1c-417d-b543-2b353b716a77" providerId="ADAL" clId="{8E519BB8-8CFD-49A1-B2CA-156B3D58582F}" dt="2026-01-26T14:02:32.816" v="1547" actId="1076"/>
          <ac:spMkLst>
            <pc:docMk/>
            <pc:sldMk cId="606842693" sldId="262"/>
            <ac:spMk id="18" creationId="{5579A50F-4DC4-B3D5-4566-D2D4EBF4A896}"/>
          </ac:spMkLst>
        </pc:spChg>
        <pc:spChg chg="mod">
          <ac:chgData name="Dagelet, A.J. (Anouk)" userId="52408ba3-1c1c-417d-b543-2b353b716a77" providerId="ADAL" clId="{8E519BB8-8CFD-49A1-B2CA-156B3D58582F}" dt="2026-01-26T13:02:03.155" v="1178" actId="1076"/>
          <ac:spMkLst>
            <pc:docMk/>
            <pc:sldMk cId="606842693" sldId="262"/>
            <ac:spMk id="19" creationId="{05138BA1-66C7-4CF3-B916-EEB866425E17}"/>
          </ac:spMkLst>
        </pc:spChg>
        <pc:spChg chg="mod">
          <ac:chgData name="Dagelet, A.J. (Anouk)" userId="52408ba3-1c1c-417d-b543-2b353b716a77" providerId="ADAL" clId="{8E519BB8-8CFD-49A1-B2CA-156B3D58582F}" dt="2026-01-26T13:17:10.133" v="1223" actId="20577"/>
          <ac:spMkLst>
            <pc:docMk/>
            <pc:sldMk cId="606842693" sldId="262"/>
            <ac:spMk id="21" creationId="{F4E7CD82-6E80-4A76-0D7E-1879F309BA3D}"/>
          </ac:spMkLst>
        </pc:spChg>
        <pc:spChg chg="add del mod ord">
          <ac:chgData name="Dagelet, A.J. (Anouk)" userId="52408ba3-1c1c-417d-b543-2b353b716a77" providerId="ADAL" clId="{8E519BB8-8CFD-49A1-B2CA-156B3D58582F}" dt="2026-01-26T14:01:20.543" v="1536" actId="478"/>
          <ac:spMkLst>
            <pc:docMk/>
            <pc:sldMk cId="606842693" sldId="262"/>
            <ac:spMk id="23" creationId="{4C3E2765-BCC8-4C51-9251-2FE2B3809430}"/>
          </ac:spMkLst>
        </pc:spChg>
        <pc:spChg chg="add del">
          <ac:chgData name="Dagelet, A.J. (Anouk)" userId="52408ba3-1c1c-417d-b543-2b353b716a77" providerId="ADAL" clId="{8E519BB8-8CFD-49A1-B2CA-156B3D58582F}" dt="2026-01-26T14:00:08.240" v="1473" actId="478"/>
          <ac:spMkLst>
            <pc:docMk/>
            <pc:sldMk cId="606842693" sldId="262"/>
            <ac:spMk id="40" creationId="{AC135913-472B-0A0E-2875-4A2595A024E2}"/>
          </ac:spMkLst>
        </pc:spChg>
        <pc:spChg chg="add mod">
          <ac:chgData name="Dagelet, A.J. (Anouk)" userId="52408ba3-1c1c-417d-b543-2b353b716a77" providerId="ADAL" clId="{8E519BB8-8CFD-49A1-B2CA-156B3D58582F}" dt="2026-01-26T14:04:07.341" v="1550" actId="20577"/>
          <ac:spMkLst>
            <pc:docMk/>
            <pc:sldMk cId="606842693" sldId="262"/>
            <ac:spMk id="41" creationId="{3AFE0396-50E1-5EAC-5140-F729C93C073F}"/>
          </ac:spMkLst>
        </pc:spChg>
        <pc:picChg chg="add mod">
          <ac:chgData name="Dagelet, A.J. (Anouk)" userId="52408ba3-1c1c-417d-b543-2b353b716a77" providerId="ADAL" clId="{8E519BB8-8CFD-49A1-B2CA-156B3D58582F}" dt="2026-01-26T13:17:37.654" v="1224" actId="1076"/>
          <ac:picMkLst>
            <pc:docMk/>
            <pc:sldMk cId="606842693" sldId="262"/>
            <ac:picMk id="8" creationId="{9864E95C-9655-9EE3-F523-18E9A941EB35}"/>
          </ac:picMkLst>
        </pc:picChg>
        <pc:picChg chg="add del mod">
          <ac:chgData name="Dagelet, A.J. (Anouk)" userId="52408ba3-1c1c-417d-b543-2b353b716a77" providerId="ADAL" clId="{8E519BB8-8CFD-49A1-B2CA-156B3D58582F}" dt="2026-01-26T12:38:59.287" v="880" actId="478"/>
          <ac:picMkLst>
            <pc:docMk/>
            <pc:sldMk cId="606842693" sldId="262"/>
            <ac:picMk id="9" creationId="{38459212-BEA9-79E8-7BB2-D72224AE30E0}"/>
          </ac:picMkLst>
        </pc:picChg>
        <pc:picChg chg="del">
          <ac:chgData name="Dagelet, A.J. (Anouk)" userId="52408ba3-1c1c-417d-b543-2b353b716a77" providerId="ADAL" clId="{8E519BB8-8CFD-49A1-B2CA-156B3D58582F}" dt="2026-01-26T12:38:48" v="878" actId="478"/>
          <ac:picMkLst>
            <pc:docMk/>
            <pc:sldMk cId="606842693" sldId="262"/>
            <ac:picMk id="12" creationId="{69645200-041F-F77B-1A9B-18A5EB9CB83A}"/>
          </ac:picMkLst>
        </pc:picChg>
        <pc:picChg chg="mod">
          <ac:chgData name="Dagelet, A.J. (Anouk)" userId="52408ba3-1c1c-417d-b543-2b353b716a77" providerId="ADAL" clId="{8E519BB8-8CFD-49A1-B2CA-156B3D58582F}" dt="2026-01-26T14:02:44.904" v="1549" actId="1076"/>
          <ac:picMkLst>
            <pc:docMk/>
            <pc:sldMk cId="606842693" sldId="262"/>
            <ac:picMk id="14" creationId="{2AF27102-5C45-942C-2B35-3836B40A6844}"/>
          </ac:picMkLst>
        </pc:picChg>
        <pc:picChg chg="add del mod">
          <ac:chgData name="Dagelet, A.J. (Anouk)" userId="52408ba3-1c1c-417d-b543-2b353b716a77" providerId="ADAL" clId="{8E519BB8-8CFD-49A1-B2CA-156B3D58582F}" dt="2026-01-26T12:52:04.149" v="1163" actId="478"/>
          <ac:picMkLst>
            <pc:docMk/>
            <pc:sldMk cId="606842693" sldId="262"/>
            <ac:picMk id="20" creationId="{F2C5FC9B-838A-E046-BF17-7A9328CD6B3A}"/>
          </ac:picMkLst>
        </pc:picChg>
        <pc:picChg chg="add del mod">
          <ac:chgData name="Dagelet, A.J. (Anouk)" userId="52408ba3-1c1c-417d-b543-2b353b716a77" providerId="ADAL" clId="{8E519BB8-8CFD-49A1-B2CA-156B3D58582F}" dt="2026-01-26T12:52:31.316" v="1165" actId="478"/>
          <ac:picMkLst>
            <pc:docMk/>
            <pc:sldMk cId="606842693" sldId="262"/>
            <ac:picMk id="24" creationId="{2948146C-C194-1C23-21C3-0DB722634C1C}"/>
          </ac:picMkLst>
        </pc:picChg>
        <pc:picChg chg="add del mod">
          <ac:chgData name="Dagelet, A.J. (Anouk)" userId="52408ba3-1c1c-417d-b543-2b353b716a77" providerId="ADAL" clId="{8E519BB8-8CFD-49A1-B2CA-156B3D58582F}" dt="2026-01-26T12:56:56.113" v="1167" actId="478"/>
          <ac:picMkLst>
            <pc:docMk/>
            <pc:sldMk cId="606842693" sldId="262"/>
            <ac:picMk id="26" creationId="{CE709582-B4FF-FB48-A6B0-081076AD807F}"/>
          </ac:picMkLst>
        </pc:picChg>
        <pc:picChg chg="add del mod">
          <ac:chgData name="Dagelet, A.J. (Anouk)" userId="52408ba3-1c1c-417d-b543-2b353b716a77" providerId="ADAL" clId="{8E519BB8-8CFD-49A1-B2CA-156B3D58582F}" dt="2026-01-26T13:04:46.771" v="1194" actId="478"/>
          <ac:picMkLst>
            <pc:docMk/>
            <pc:sldMk cId="606842693" sldId="262"/>
            <ac:picMk id="28" creationId="{E69F6956-89FA-76C5-9423-9E669CF3D204}"/>
          </ac:picMkLst>
        </pc:picChg>
        <pc:picChg chg="add del mod">
          <ac:chgData name="Dagelet, A.J. (Anouk)" userId="52408ba3-1c1c-417d-b543-2b353b716a77" providerId="ADAL" clId="{8E519BB8-8CFD-49A1-B2CA-156B3D58582F}" dt="2026-01-26T13:05:07.471" v="1197" actId="478"/>
          <ac:picMkLst>
            <pc:docMk/>
            <pc:sldMk cId="606842693" sldId="262"/>
            <ac:picMk id="30" creationId="{D9EE76AE-294A-12F7-C485-5FFCF5C1B88E}"/>
          </ac:picMkLst>
        </pc:picChg>
        <pc:picChg chg="add del mod">
          <ac:chgData name="Dagelet, A.J. (Anouk)" userId="52408ba3-1c1c-417d-b543-2b353b716a77" providerId="ADAL" clId="{8E519BB8-8CFD-49A1-B2CA-156B3D58582F}" dt="2026-01-26T13:05:48.043" v="1200" actId="478"/>
          <ac:picMkLst>
            <pc:docMk/>
            <pc:sldMk cId="606842693" sldId="262"/>
            <ac:picMk id="32" creationId="{496691A2-567C-7ECC-F7AA-9E0BA798712B}"/>
          </ac:picMkLst>
        </pc:picChg>
        <pc:picChg chg="add del mod">
          <ac:chgData name="Dagelet, A.J. (Anouk)" userId="52408ba3-1c1c-417d-b543-2b353b716a77" providerId="ADAL" clId="{8E519BB8-8CFD-49A1-B2CA-156B3D58582F}" dt="2026-01-26T13:09:11.481" v="1202" actId="478"/>
          <ac:picMkLst>
            <pc:docMk/>
            <pc:sldMk cId="606842693" sldId="262"/>
            <ac:picMk id="34" creationId="{99582946-F3C0-6499-73DD-5F37B27BA357}"/>
          </ac:picMkLst>
        </pc:picChg>
        <pc:picChg chg="add mod">
          <ac:chgData name="Dagelet, A.J. (Anouk)" userId="52408ba3-1c1c-417d-b543-2b353b716a77" providerId="ADAL" clId="{8E519BB8-8CFD-49A1-B2CA-156B3D58582F}" dt="2026-01-26T14:02:00.402" v="1540" actId="1076"/>
          <ac:picMkLst>
            <pc:docMk/>
            <pc:sldMk cId="606842693" sldId="262"/>
            <ac:picMk id="36" creationId="{7BE98D6D-E14D-4E04-25B9-C0C8D7FDD331}"/>
          </ac:picMkLst>
        </pc:picChg>
        <pc:picChg chg="add mod">
          <ac:chgData name="Dagelet, A.J. (Anouk)" userId="52408ba3-1c1c-417d-b543-2b353b716a77" providerId="ADAL" clId="{8E519BB8-8CFD-49A1-B2CA-156B3D58582F}" dt="2026-01-26T13:19:55.180" v="1230" actId="1076"/>
          <ac:picMkLst>
            <pc:docMk/>
            <pc:sldMk cId="606842693" sldId="262"/>
            <ac:picMk id="38" creationId="{F9D6A771-1403-0E79-5AB1-1E2A86A38CF2}"/>
          </ac:picMkLst>
        </pc:picChg>
        <pc:picChg chg="add mod">
          <ac:chgData name="Dagelet, A.J. (Anouk)" userId="52408ba3-1c1c-417d-b543-2b353b716a77" providerId="ADAL" clId="{8E519BB8-8CFD-49A1-B2CA-156B3D58582F}" dt="2026-01-26T14:01:34.953" v="1539" actId="1076"/>
          <ac:picMkLst>
            <pc:docMk/>
            <pc:sldMk cId="606842693" sldId="262"/>
            <ac:picMk id="39" creationId="{AE6FC856-D8E9-DFED-4B7A-92F6B2FBDFB0}"/>
          </ac:picMkLst>
        </pc:picChg>
        <pc:picChg chg="mod">
          <ac:chgData name="Dagelet, A.J. (Anouk)" userId="52408ba3-1c1c-417d-b543-2b353b716a77" providerId="ADAL" clId="{8E519BB8-8CFD-49A1-B2CA-156B3D58582F}" dt="2026-01-26T12:50:34.674" v="1161" actId="1076"/>
          <ac:picMkLst>
            <pc:docMk/>
            <pc:sldMk cId="606842693" sldId="262"/>
            <ac:picMk id="1026" creationId="{D0C23C1F-229A-A8AC-4BE2-E17803F2DAF7}"/>
          </ac:picMkLst>
        </pc:picChg>
      </pc:sldChg>
      <pc:sldChg chg="modSp mod">
        <pc:chgData name="Dagelet, A.J. (Anouk)" userId="52408ba3-1c1c-417d-b543-2b353b716a77" providerId="ADAL" clId="{8E519BB8-8CFD-49A1-B2CA-156B3D58582F}" dt="2026-01-26T12:35:39.674" v="830" actId="1076"/>
        <pc:sldMkLst>
          <pc:docMk/>
          <pc:sldMk cId="3614434177" sldId="266"/>
        </pc:sldMkLst>
        <pc:spChg chg="mod">
          <ac:chgData name="Dagelet, A.J. (Anouk)" userId="52408ba3-1c1c-417d-b543-2b353b716a77" providerId="ADAL" clId="{8E519BB8-8CFD-49A1-B2CA-156B3D58582F}" dt="2026-01-23T10:37:15.351" v="791" actId="1076"/>
          <ac:spMkLst>
            <pc:docMk/>
            <pc:sldMk cId="3614434177" sldId="266"/>
            <ac:spMk id="3" creationId="{A9BAE2B3-033E-46BE-C351-A6FC1B8168E9}"/>
          </ac:spMkLst>
        </pc:spChg>
        <pc:spChg chg="mod">
          <ac:chgData name="Dagelet, A.J. (Anouk)" userId="52408ba3-1c1c-417d-b543-2b353b716a77" providerId="ADAL" clId="{8E519BB8-8CFD-49A1-B2CA-156B3D58582F}" dt="2026-01-23T10:36:41.789" v="788" actId="255"/>
          <ac:spMkLst>
            <pc:docMk/>
            <pc:sldMk cId="3614434177" sldId="266"/>
            <ac:spMk id="6" creationId="{18508C04-CBA2-4DEB-8B35-E5245C2D2E03}"/>
          </ac:spMkLst>
        </pc:spChg>
        <pc:spChg chg="mod">
          <ac:chgData name="Dagelet, A.J. (Anouk)" userId="52408ba3-1c1c-417d-b543-2b353b716a77" providerId="ADAL" clId="{8E519BB8-8CFD-49A1-B2CA-156B3D58582F}" dt="2026-01-19T12:20:17.478" v="0" actId="20577"/>
          <ac:spMkLst>
            <pc:docMk/>
            <pc:sldMk cId="3614434177" sldId="266"/>
            <ac:spMk id="15" creationId="{0EA70C26-082D-8483-DB0A-3CCBF4D1F44F}"/>
          </ac:spMkLst>
        </pc:spChg>
        <pc:spChg chg="mod">
          <ac:chgData name="Dagelet, A.J. (Anouk)" userId="52408ba3-1c1c-417d-b543-2b353b716a77" providerId="ADAL" clId="{8E519BB8-8CFD-49A1-B2CA-156B3D58582F}" dt="2026-01-23T10:36:56.417" v="789" actId="1076"/>
          <ac:spMkLst>
            <pc:docMk/>
            <pc:sldMk cId="3614434177" sldId="266"/>
            <ac:spMk id="28" creationId="{102D5326-D5C2-9F91-DA11-959D2C471FAF}"/>
          </ac:spMkLst>
        </pc:spChg>
        <pc:spChg chg="mod">
          <ac:chgData name="Dagelet, A.J. (Anouk)" userId="52408ba3-1c1c-417d-b543-2b353b716a77" providerId="ADAL" clId="{8E519BB8-8CFD-49A1-B2CA-156B3D58582F}" dt="2026-01-23T10:37:03.851" v="790" actId="1076"/>
          <ac:spMkLst>
            <pc:docMk/>
            <pc:sldMk cId="3614434177" sldId="266"/>
            <ac:spMk id="30" creationId="{1E1FB81A-F91A-B61E-3C97-908907E6F84C}"/>
          </ac:spMkLst>
        </pc:spChg>
        <pc:picChg chg="mod">
          <ac:chgData name="Dagelet, A.J. (Anouk)" userId="52408ba3-1c1c-417d-b543-2b353b716a77" providerId="ADAL" clId="{8E519BB8-8CFD-49A1-B2CA-156B3D58582F}" dt="2026-01-26T12:35:39.674" v="830" actId="1076"/>
          <ac:picMkLst>
            <pc:docMk/>
            <pc:sldMk cId="3614434177" sldId="266"/>
            <ac:picMk id="10" creationId="{1D32FE24-5707-9FE1-99E5-2B0896EAD194}"/>
          </ac:picMkLst>
        </pc:picChg>
      </pc:sldChg>
      <pc:sldChg chg="addSp delSp modSp mod">
        <pc:chgData name="Dagelet, A.J. (Anouk)" userId="52408ba3-1c1c-417d-b543-2b353b716a77" providerId="ADAL" clId="{8E519BB8-8CFD-49A1-B2CA-156B3D58582F}" dt="2026-01-26T14:19:08.317" v="1974" actId="1076"/>
        <pc:sldMkLst>
          <pc:docMk/>
          <pc:sldMk cId="3888696691" sldId="267"/>
        </pc:sldMkLst>
        <pc:spChg chg="mod">
          <ac:chgData name="Dagelet, A.J. (Anouk)" userId="52408ba3-1c1c-417d-b543-2b353b716a77" providerId="ADAL" clId="{8E519BB8-8CFD-49A1-B2CA-156B3D58582F}" dt="2026-01-26T14:18:48.478" v="1971" actId="1076"/>
          <ac:spMkLst>
            <pc:docMk/>
            <pc:sldMk cId="3888696691" sldId="267"/>
            <ac:spMk id="18" creationId="{BC33C968-F493-E363-16E7-4008222922EB}"/>
          </ac:spMkLst>
        </pc:spChg>
        <pc:spChg chg="mod">
          <ac:chgData name="Dagelet, A.J. (Anouk)" userId="52408ba3-1c1c-417d-b543-2b353b716a77" providerId="ADAL" clId="{8E519BB8-8CFD-49A1-B2CA-156B3D58582F}" dt="2026-01-19T12:21:18.970" v="8" actId="20577"/>
          <ac:spMkLst>
            <pc:docMk/>
            <pc:sldMk cId="3888696691" sldId="267"/>
            <ac:spMk id="20" creationId="{17F6A332-32DD-EFDE-B24C-FE5F14EDB95C}"/>
          </ac:spMkLst>
        </pc:spChg>
        <pc:spChg chg="mod">
          <ac:chgData name="Dagelet, A.J. (Anouk)" userId="52408ba3-1c1c-417d-b543-2b353b716a77" providerId="ADAL" clId="{8E519BB8-8CFD-49A1-B2CA-156B3D58582F}" dt="2026-01-26T14:18:57.237" v="1972" actId="1076"/>
          <ac:spMkLst>
            <pc:docMk/>
            <pc:sldMk cId="3888696691" sldId="267"/>
            <ac:spMk id="25" creationId="{5F70C1D9-A4CE-4C06-BC52-05280606CEA9}"/>
          </ac:spMkLst>
        </pc:spChg>
        <pc:spChg chg="mod">
          <ac:chgData name="Dagelet, A.J. (Anouk)" userId="52408ba3-1c1c-417d-b543-2b353b716a77" providerId="ADAL" clId="{8E519BB8-8CFD-49A1-B2CA-156B3D58582F}" dt="2026-01-19T13:03:35.804" v="289" actId="6549"/>
          <ac:spMkLst>
            <pc:docMk/>
            <pc:sldMk cId="3888696691" sldId="267"/>
            <ac:spMk id="27" creationId="{241B0ACF-5C3A-4FDC-9E85-84C2DF2722B6}"/>
          </ac:spMkLst>
        </pc:spChg>
        <pc:spChg chg="mod">
          <ac:chgData name="Dagelet, A.J. (Anouk)" userId="52408ba3-1c1c-417d-b543-2b353b716a77" providerId="ADAL" clId="{8E519BB8-8CFD-49A1-B2CA-156B3D58582F}" dt="2026-01-19T12:20:55.825" v="2" actId="20577"/>
          <ac:spMkLst>
            <pc:docMk/>
            <pc:sldMk cId="3888696691" sldId="267"/>
            <ac:spMk id="31" creationId="{4EFE25EF-BA92-4467-AF73-D03A04E88588}"/>
          </ac:spMkLst>
        </pc:spChg>
        <pc:spChg chg="add del mod">
          <ac:chgData name="Dagelet, A.J. (Anouk)" userId="52408ba3-1c1c-417d-b543-2b353b716a77" providerId="ADAL" clId="{8E519BB8-8CFD-49A1-B2CA-156B3D58582F}" dt="2026-01-19T13:02:25.102" v="207" actId="20577"/>
          <ac:spMkLst>
            <pc:docMk/>
            <pc:sldMk cId="3888696691" sldId="267"/>
            <ac:spMk id="32" creationId="{F391039F-5F56-4361-B3AD-E8FC2ADDA0CC}"/>
          </ac:spMkLst>
        </pc:spChg>
        <pc:spChg chg="mod">
          <ac:chgData name="Dagelet, A.J. (Anouk)" userId="52408ba3-1c1c-417d-b543-2b353b716a77" providerId="ADAL" clId="{8E519BB8-8CFD-49A1-B2CA-156B3D58582F}" dt="2026-01-26T14:19:08.317" v="1974" actId="1076"/>
          <ac:spMkLst>
            <pc:docMk/>
            <pc:sldMk cId="3888696691" sldId="267"/>
            <ac:spMk id="33" creationId="{B794D00C-EC6D-421E-8F29-70C3245D4599}"/>
          </ac:spMkLst>
        </pc:spChg>
        <pc:spChg chg="mod">
          <ac:chgData name="Dagelet, A.J. (Anouk)" userId="52408ba3-1c1c-417d-b543-2b353b716a77" providerId="ADAL" clId="{8E519BB8-8CFD-49A1-B2CA-156B3D58582F}" dt="2026-01-19T13:03:16.794" v="287" actId="313"/>
          <ac:spMkLst>
            <pc:docMk/>
            <pc:sldMk cId="3888696691" sldId="267"/>
            <ac:spMk id="34" creationId="{D9182743-FA24-4AE8-BDEE-86F473092461}"/>
          </ac:spMkLst>
        </pc:spChg>
        <pc:spChg chg="del">
          <ac:chgData name="Dagelet, A.J. (Anouk)" userId="52408ba3-1c1c-417d-b543-2b353b716a77" providerId="ADAL" clId="{8E519BB8-8CFD-49A1-B2CA-156B3D58582F}" dt="2026-01-19T13:03:28.927" v="288" actId="478"/>
          <ac:spMkLst>
            <pc:docMk/>
            <pc:sldMk cId="3888696691" sldId="267"/>
            <ac:spMk id="61" creationId="{BC292AD2-37BA-4BD8-84FC-DA8A162AE502}"/>
          </ac:spMkLst>
        </pc:spChg>
        <pc:picChg chg="del">
          <ac:chgData name="Dagelet, A.J. (Anouk)" userId="52408ba3-1c1c-417d-b543-2b353b716a77" providerId="ADAL" clId="{8E519BB8-8CFD-49A1-B2CA-156B3D58582F}" dt="2026-01-23T10:40:19.332" v="799" actId="478"/>
          <ac:picMkLst>
            <pc:docMk/>
            <pc:sldMk cId="3888696691" sldId="267"/>
            <ac:picMk id="16" creationId="{EC8BE8DA-ED49-9279-4909-1378415CAC83}"/>
          </ac:picMkLst>
        </pc:picChg>
        <pc:picChg chg="mod">
          <ac:chgData name="Dagelet, A.J. (Anouk)" userId="52408ba3-1c1c-417d-b543-2b353b716a77" providerId="ADAL" clId="{8E519BB8-8CFD-49A1-B2CA-156B3D58582F}" dt="2026-01-23T10:41:54.317" v="821" actId="1076"/>
          <ac:picMkLst>
            <pc:docMk/>
            <pc:sldMk cId="3888696691" sldId="267"/>
            <ac:picMk id="17" creationId="{B2548643-FE58-7AF1-5F1F-048946020933}"/>
          </ac:picMkLst>
        </pc:picChg>
        <pc:picChg chg="mod">
          <ac:chgData name="Dagelet, A.J. (Anouk)" userId="52408ba3-1c1c-417d-b543-2b353b716a77" providerId="ADAL" clId="{8E519BB8-8CFD-49A1-B2CA-156B3D58582F}" dt="2026-01-26T14:19:01.920" v="1973" actId="1076"/>
          <ac:picMkLst>
            <pc:docMk/>
            <pc:sldMk cId="3888696691" sldId="267"/>
            <ac:picMk id="21" creationId="{58E8EB77-BB89-7E0A-68DC-686D8CCC8F23}"/>
          </ac:picMkLst>
        </pc:picChg>
        <pc:picChg chg="add del mod">
          <ac:chgData name="Dagelet, A.J. (Anouk)" userId="52408ba3-1c1c-417d-b543-2b353b716a77" providerId="ADAL" clId="{8E519BB8-8CFD-49A1-B2CA-156B3D58582F}" dt="2026-01-23T10:42:15.341" v="826" actId="478"/>
          <ac:picMkLst>
            <pc:docMk/>
            <pc:sldMk cId="3888696691" sldId="267"/>
            <ac:picMk id="2050" creationId="{FAA0C0D0-8BFB-EAF8-0339-ED2C64FA2D71}"/>
          </ac:picMkLst>
        </pc:picChg>
        <pc:picChg chg="add mod">
          <ac:chgData name="Dagelet, A.J. (Anouk)" userId="52408ba3-1c1c-417d-b543-2b353b716a77" providerId="ADAL" clId="{8E519BB8-8CFD-49A1-B2CA-156B3D58582F}" dt="2026-01-23T10:42:09.876" v="825" actId="14100"/>
          <ac:picMkLst>
            <pc:docMk/>
            <pc:sldMk cId="3888696691" sldId="267"/>
            <ac:picMk id="2052" creationId="{2AADA2FC-E78D-04EC-7E58-7E9000845570}"/>
          </ac:picMkLst>
        </pc:picChg>
      </pc:sldChg>
      <pc:sldChg chg="addSp delSp modSp new del mod">
        <pc:chgData name="Dagelet, A.J. (Anouk)" userId="52408ba3-1c1c-417d-b543-2b353b716a77" providerId="ADAL" clId="{8E519BB8-8CFD-49A1-B2CA-156B3D58582F}" dt="2026-01-26T13:33:17.154" v="1438" actId="47"/>
        <pc:sldMkLst>
          <pc:docMk/>
          <pc:sldMk cId="786319589" sldId="268"/>
        </pc:sldMkLst>
        <pc:spChg chg="add mod">
          <ac:chgData name="Dagelet, A.J. (Anouk)" userId="52408ba3-1c1c-417d-b543-2b353b716a77" providerId="ADAL" clId="{8E519BB8-8CFD-49A1-B2CA-156B3D58582F}" dt="2026-01-26T12:41:33.537" v="934" actId="1076"/>
          <ac:spMkLst>
            <pc:docMk/>
            <pc:sldMk cId="786319589" sldId="268"/>
            <ac:spMk id="2" creationId="{EFB2E371-127D-E141-DB8B-07C960B168BD}"/>
          </ac:spMkLst>
        </pc:spChg>
        <pc:spChg chg="add mod">
          <ac:chgData name="Dagelet, A.J. (Anouk)" userId="52408ba3-1c1c-417d-b543-2b353b716a77" providerId="ADAL" clId="{8E519BB8-8CFD-49A1-B2CA-156B3D58582F}" dt="2026-01-23T10:20:24.612" v="443" actId="20577"/>
          <ac:spMkLst>
            <pc:docMk/>
            <pc:sldMk cId="786319589" sldId="268"/>
            <ac:spMk id="5" creationId="{7C9D3952-D825-595A-B3BB-83CF868ABEA4}"/>
          </ac:spMkLst>
        </pc:spChg>
        <pc:spChg chg="add del mod">
          <ac:chgData name="Dagelet, A.J. (Anouk)" userId="52408ba3-1c1c-417d-b543-2b353b716a77" providerId="ADAL" clId="{8E519BB8-8CFD-49A1-B2CA-156B3D58582F}" dt="2026-01-23T10:29:10.996" v="567" actId="478"/>
          <ac:spMkLst>
            <pc:docMk/>
            <pc:sldMk cId="786319589" sldId="268"/>
            <ac:spMk id="6" creationId="{3D3414BC-9473-3F2F-4318-51F966D1FDC9}"/>
          </ac:spMkLst>
        </pc:spChg>
        <pc:spChg chg="add mod">
          <ac:chgData name="Dagelet, A.J. (Anouk)" userId="52408ba3-1c1c-417d-b543-2b353b716a77" providerId="ADAL" clId="{8E519BB8-8CFD-49A1-B2CA-156B3D58582F}" dt="2026-01-23T10:20:29.511" v="446" actId="20577"/>
          <ac:spMkLst>
            <pc:docMk/>
            <pc:sldMk cId="786319589" sldId="268"/>
            <ac:spMk id="9" creationId="{7DF22F48-9371-0886-3B1E-EA809483FDDE}"/>
          </ac:spMkLst>
        </pc:spChg>
        <pc:spChg chg="add mod">
          <ac:chgData name="Dagelet, A.J. (Anouk)" userId="52408ba3-1c1c-417d-b543-2b353b716a77" providerId="ADAL" clId="{8E519BB8-8CFD-49A1-B2CA-156B3D58582F}" dt="2026-01-23T10:23:34.478" v="512" actId="1076"/>
          <ac:spMkLst>
            <pc:docMk/>
            <pc:sldMk cId="786319589" sldId="268"/>
            <ac:spMk id="10" creationId="{0B69B514-4062-CC2A-16A3-0FED3DE9993A}"/>
          </ac:spMkLst>
        </pc:spChg>
        <pc:spChg chg="add mod">
          <ac:chgData name="Dagelet, A.J. (Anouk)" userId="52408ba3-1c1c-417d-b543-2b353b716a77" providerId="ADAL" clId="{8E519BB8-8CFD-49A1-B2CA-156B3D58582F}" dt="2026-01-23T10:29:04.435" v="564" actId="1076"/>
          <ac:spMkLst>
            <pc:docMk/>
            <pc:sldMk cId="786319589" sldId="268"/>
            <ac:spMk id="11" creationId="{6258B90F-D2C3-B8ED-4225-F7401A6A56B8}"/>
          </ac:spMkLst>
        </pc:spChg>
        <pc:picChg chg="add del mod">
          <ac:chgData name="Dagelet, A.J. (Anouk)" userId="52408ba3-1c1c-417d-b543-2b353b716a77" providerId="ADAL" clId="{8E519BB8-8CFD-49A1-B2CA-156B3D58582F}" dt="2026-01-23T10:24:20.306" v="513" actId="478"/>
          <ac:picMkLst>
            <pc:docMk/>
            <pc:sldMk cId="786319589" sldId="268"/>
            <ac:picMk id="4" creationId="{59640FFC-7D76-F67B-1230-9E1D7FE32CD6}"/>
          </ac:picMkLst>
        </pc:picChg>
        <pc:picChg chg="add mod">
          <ac:chgData name="Dagelet, A.J. (Anouk)" userId="52408ba3-1c1c-417d-b543-2b353b716a77" providerId="ADAL" clId="{8E519BB8-8CFD-49A1-B2CA-156B3D58582F}" dt="2026-01-23T10:16:20.372" v="395" actId="1076"/>
          <ac:picMkLst>
            <pc:docMk/>
            <pc:sldMk cId="786319589" sldId="268"/>
            <ac:picMk id="8" creationId="{49731FAF-09CA-E7CC-DAC3-40093EF624CB}"/>
          </ac:picMkLst>
        </pc:picChg>
        <pc:picChg chg="add mod">
          <ac:chgData name="Dagelet, A.J. (Anouk)" userId="52408ba3-1c1c-417d-b543-2b353b716a77" providerId="ADAL" clId="{8E519BB8-8CFD-49A1-B2CA-156B3D58582F}" dt="2026-01-23T10:22:06.396" v="449" actId="14100"/>
          <ac:picMkLst>
            <pc:docMk/>
            <pc:sldMk cId="786319589" sldId="268"/>
            <ac:picMk id="1027" creationId="{12F1BB85-BDE5-6096-72BE-A0A5C636D213}"/>
          </ac:picMkLst>
        </pc:picChg>
        <pc:picChg chg="add mod">
          <ac:chgData name="Dagelet, A.J. (Anouk)" userId="52408ba3-1c1c-417d-b543-2b353b716a77" providerId="ADAL" clId="{8E519BB8-8CFD-49A1-B2CA-156B3D58582F}" dt="2026-01-23T10:24:30.540" v="517" actId="1076"/>
          <ac:picMkLst>
            <pc:docMk/>
            <pc:sldMk cId="786319589" sldId="268"/>
            <ac:picMk id="1029" creationId="{68B173A8-3157-2E2F-C602-A4F4E5DE8758}"/>
          </ac:picMkLst>
        </pc:picChg>
        <pc:picChg chg="add mod">
          <ac:chgData name="Dagelet, A.J. (Anouk)" userId="52408ba3-1c1c-417d-b543-2b353b716a77" providerId="ADAL" clId="{8E519BB8-8CFD-49A1-B2CA-156B3D58582F}" dt="2026-01-23T10:28:11.457" v="521" actId="1076"/>
          <ac:picMkLst>
            <pc:docMk/>
            <pc:sldMk cId="786319589" sldId="268"/>
            <ac:picMk id="1031" creationId="{57C1A7B8-6735-DF59-7C0E-A81751B72A5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D369-80AD-4BE5-B998-12FB3356E659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2079625" y="1143000"/>
            <a:ext cx="26987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38D6E-0F7E-4913-A67E-8261EB1F3677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7133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F38D6E-0F7E-4913-A67E-8261EB1F3677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14910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F38D6E-0F7E-4913-A67E-8261EB1F3677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2654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977" y="1414126"/>
            <a:ext cx="6425724" cy="3008266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960" y="4538402"/>
            <a:ext cx="5669756" cy="2086184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71" indent="0" algn="ctr">
              <a:buNone/>
              <a:defRPr sz="1653"/>
            </a:lvl2pPr>
            <a:lvl3pPr marL="755942" indent="0" algn="ctr">
              <a:buNone/>
              <a:defRPr sz="1488"/>
            </a:lvl3pPr>
            <a:lvl4pPr marL="1133914" indent="0" algn="ctr">
              <a:buNone/>
              <a:defRPr sz="1323"/>
            </a:lvl4pPr>
            <a:lvl5pPr marL="1511885" indent="0" algn="ctr">
              <a:buNone/>
              <a:defRPr sz="1323"/>
            </a:lvl5pPr>
            <a:lvl6pPr marL="1889857" indent="0" algn="ctr">
              <a:buNone/>
              <a:defRPr sz="1323"/>
            </a:lvl6pPr>
            <a:lvl7pPr marL="2267827" indent="0" algn="ctr">
              <a:buNone/>
              <a:defRPr sz="1323"/>
            </a:lvl7pPr>
            <a:lvl8pPr marL="2645799" indent="0" algn="ctr">
              <a:buNone/>
              <a:defRPr sz="1323"/>
            </a:lvl8pPr>
            <a:lvl9pPr marL="3023771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6227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51685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9894" y="460042"/>
            <a:ext cx="1630055" cy="732264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729" y="460042"/>
            <a:ext cx="4795669" cy="732264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6881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976" y="1414125"/>
            <a:ext cx="6425724" cy="3008266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960" y="4538401"/>
            <a:ext cx="5669756" cy="2086184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67" indent="0" algn="ctr">
              <a:buNone/>
              <a:defRPr sz="1653"/>
            </a:lvl2pPr>
            <a:lvl3pPr marL="755934" indent="0" algn="ctr">
              <a:buNone/>
              <a:defRPr sz="1488"/>
            </a:lvl3pPr>
            <a:lvl4pPr marL="1133902" indent="0" algn="ctr">
              <a:buNone/>
              <a:defRPr sz="1323"/>
            </a:lvl4pPr>
            <a:lvl5pPr marL="1511869" indent="0" algn="ctr">
              <a:buNone/>
              <a:defRPr sz="1323"/>
            </a:lvl5pPr>
            <a:lvl6pPr marL="1889836" indent="0" algn="ctr">
              <a:buNone/>
              <a:defRPr sz="1323"/>
            </a:lvl6pPr>
            <a:lvl7pPr marL="2267803" indent="0" algn="ctr">
              <a:buNone/>
              <a:defRPr sz="1323"/>
            </a:lvl7pPr>
            <a:lvl8pPr marL="2645771" indent="0" algn="ctr">
              <a:buNone/>
              <a:defRPr sz="1323"/>
            </a:lvl8pPr>
            <a:lvl9pPr marL="3023738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84171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558879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791" y="2154193"/>
            <a:ext cx="6520220" cy="3594317"/>
          </a:xfrm>
        </p:spPr>
        <p:txBody>
          <a:bodyPr anchor="b"/>
          <a:lstStyle>
            <a:lvl1pPr>
              <a:defRPr sz="49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791" y="5782513"/>
            <a:ext cx="6520220" cy="1890166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/>
                </a:solidFill>
              </a:defRPr>
            </a:lvl1pPr>
            <a:lvl2pPr marL="377967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755934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390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186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89836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7803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577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373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74342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728" y="2300203"/>
            <a:ext cx="3212862" cy="54824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7085" y="2300203"/>
            <a:ext cx="3212862" cy="54824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65973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460043"/>
            <a:ext cx="6520220" cy="167014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713" y="2118188"/>
            <a:ext cx="3198096" cy="1038091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713" y="3156278"/>
            <a:ext cx="3198096" cy="46424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7086" y="2118188"/>
            <a:ext cx="3213847" cy="1038091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7086" y="3156278"/>
            <a:ext cx="3213847" cy="46424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9727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02491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1447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576051"/>
            <a:ext cx="2438192" cy="2016178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3847" y="1244112"/>
            <a:ext cx="3827085" cy="6140542"/>
          </a:xfrm>
        </p:spPr>
        <p:txBody>
          <a:bodyPr/>
          <a:lstStyle>
            <a:lvl1pPr>
              <a:defRPr sz="2645"/>
            </a:lvl1pPr>
            <a:lvl2pPr>
              <a:defRPr sz="2315"/>
            </a:lvl2pPr>
            <a:lvl3pPr>
              <a:defRPr sz="1984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2592229"/>
            <a:ext cx="2438192" cy="4802425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31922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8046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576051"/>
            <a:ext cx="2438192" cy="2016178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3847" y="1244112"/>
            <a:ext cx="3827085" cy="6140542"/>
          </a:xfrm>
        </p:spPr>
        <p:txBody>
          <a:bodyPr anchor="t"/>
          <a:lstStyle>
            <a:lvl1pPr marL="0" indent="0">
              <a:buNone/>
              <a:defRPr sz="2645"/>
            </a:lvl1pPr>
            <a:lvl2pPr marL="377967" indent="0">
              <a:buNone/>
              <a:defRPr sz="2315"/>
            </a:lvl2pPr>
            <a:lvl3pPr marL="755934" indent="0">
              <a:buNone/>
              <a:defRPr sz="1984"/>
            </a:lvl3pPr>
            <a:lvl4pPr marL="1133902" indent="0">
              <a:buNone/>
              <a:defRPr sz="1653"/>
            </a:lvl4pPr>
            <a:lvl5pPr marL="1511869" indent="0">
              <a:buNone/>
              <a:defRPr sz="1653"/>
            </a:lvl5pPr>
            <a:lvl6pPr marL="1889836" indent="0">
              <a:buNone/>
              <a:defRPr sz="1653"/>
            </a:lvl6pPr>
            <a:lvl7pPr marL="2267803" indent="0">
              <a:buNone/>
              <a:defRPr sz="1653"/>
            </a:lvl7pPr>
            <a:lvl8pPr marL="2645771" indent="0">
              <a:buNone/>
              <a:defRPr sz="1653"/>
            </a:lvl8pPr>
            <a:lvl9pPr marL="3023738" indent="0">
              <a:buNone/>
              <a:defRPr sz="165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2592229"/>
            <a:ext cx="2438192" cy="4802425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3460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12302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9893" y="460041"/>
            <a:ext cx="1630055" cy="732264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728" y="460041"/>
            <a:ext cx="4795669" cy="732264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2610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791" y="2154194"/>
            <a:ext cx="6520220" cy="3594316"/>
          </a:xfrm>
        </p:spPr>
        <p:txBody>
          <a:bodyPr anchor="b"/>
          <a:lstStyle>
            <a:lvl1pPr>
              <a:defRPr sz="49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791" y="5782513"/>
            <a:ext cx="6520220" cy="1890166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/>
                </a:solidFill>
              </a:defRPr>
            </a:lvl1pPr>
            <a:lvl2pPr marL="377971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755942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391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188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89857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7827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579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377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49311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728" y="2300205"/>
            <a:ext cx="3212862" cy="54824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7085" y="2300205"/>
            <a:ext cx="3212862" cy="54824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8121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460043"/>
            <a:ext cx="6520220" cy="167014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714" y="2118189"/>
            <a:ext cx="3198096" cy="1038091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71" indent="0">
              <a:buNone/>
              <a:defRPr sz="1653" b="1"/>
            </a:lvl2pPr>
            <a:lvl3pPr marL="755942" indent="0">
              <a:buNone/>
              <a:defRPr sz="1488" b="1"/>
            </a:lvl3pPr>
            <a:lvl4pPr marL="1133914" indent="0">
              <a:buNone/>
              <a:defRPr sz="1323" b="1"/>
            </a:lvl4pPr>
            <a:lvl5pPr marL="1511885" indent="0">
              <a:buNone/>
              <a:defRPr sz="1323" b="1"/>
            </a:lvl5pPr>
            <a:lvl6pPr marL="1889857" indent="0">
              <a:buNone/>
              <a:defRPr sz="1323" b="1"/>
            </a:lvl6pPr>
            <a:lvl7pPr marL="2267827" indent="0">
              <a:buNone/>
              <a:defRPr sz="1323" b="1"/>
            </a:lvl7pPr>
            <a:lvl8pPr marL="2645799" indent="0">
              <a:buNone/>
              <a:defRPr sz="1323" b="1"/>
            </a:lvl8pPr>
            <a:lvl9pPr marL="3023771" indent="0">
              <a:buNone/>
              <a:defRPr sz="132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714" y="3156278"/>
            <a:ext cx="3198096" cy="46424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7087" y="2118189"/>
            <a:ext cx="3213847" cy="1038091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71" indent="0">
              <a:buNone/>
              <a:defRPr sz="1653" b="1"/>
            </a:lvl2pPr>
            <a:lvl3pPr marL="755942" indent="0">
              <a:buNone/>
              <a:defRPr sz="1488" b="1"/>
            </a:lvl3pPr>
            <a:lvl4pPr marL="1133914" indent="0">
              <a:buNone/>
              <a:defRPr sz="1323" b="1"/>
            </a:lvl4pPr>
            <a:lvl5pPr marL="1511885" indent="0">
              <a:buNone/>
              <a:defRPr sz="1323" b="1"/>
            </a:lvl5pPr>
            <a:lvl6pPr marL="1889857" indent="0">
              <a:buNone/>
              <a:defRPr sz="1323" b="1"/>
            </a:lvl6pPr>
            <a:lvl7pPr marL="2267827" indent="0">
              <a:buNone/>
              <a:defRPr sz="1323" b="1"/>
            </a:lvl7pPr>
            <a:lvl8pPr marL="2645799" indent="0">
              <a:buNone/>
              <a:defRPr sz="1323" b="1"/>
            </a:lvl8pPr>
            <a:lvl9pPr marL="3023771" indent="0">
              <a:buNone/>
              <a:defRPr sz="132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7087" y="3156278"/>
            <a:ext cx="3213847" cy="46424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67555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5946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9310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3" y="576052"/>
            <a:ext cx="2438192" cy="2016178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3848" y="1244113"/>
            <a:ext cx="3827085" cy="6140542"/>
          </a:xfrm>
        </p:spPr>
        <p:txBody>
          <a:bodyPr/>
          <a:lstStyle>
            <a:lvl1pPr>
              <a:defRPr sz="2645"/>
            </a:lvl1pPr>
            <a:lvl2pPr>
              <a:defRPr sz="2315"/>
            </a:lvl2pPr>
            <a:lvl3pPr>
              <a:defRPr sz="1984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3" y="2592229"/>
            <a:ext cx="2438192" cy="4802425"/>
          </a:xfrm>
        </p:spPr>
        <p:txBody>
          <a:bodyPr/>
          <a:lstStyle>
            <a:lvl1pPr marL="0" indent="0">
              <a:buNone/>
              <a:defRPr sz="1323"/>
            </a:lvl1pPr>
            <a:lvl2pPr marL="377971" indent="0">
              <a:buNone/>
              <a:defRPr sz="1157"/>
            </a:lvl2pPr>
            <a:lvl3pPr marL="755942" indent="0">
              <a:buNone/>
              <a:defRPr sz="992"/>
            </a:lvl3pPr>
            <a:lvl4pPr marL="1133914" indent="0">
              <a:buNone/>
              <a:defRPr sz="827"/>
            </a:lvl4pPr>
            <a:lvl5pPr marL="1511885" indent="0">
              <a:buNone/>
              <a:defRPr sz="827"/>
            </a:lvl5pPr>
            <a:lvl6pPr marL="1889857" indent="0">
              <a:buNone/>
              <a:defRPr sz="827"/>
            </a:lvl6pPr>
            <a:lvl7pPr marL="2267827" indent="0">
              <a:buNone/>
              <a:defRPr sz="827"/>
            </a:lvl7pPr>
            <a:lvl8pPr marL="2645799" indent="0">
              <a:buNone/>
              <a:defRPr sz="827"/>
            </a:lvl8pPr>
            <a:lvl9pPr marL="3023771" indent="0">
              <a:buNone/>
              <a:defRPr sz="82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4456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3" y="576052"/>
            <a:ext cx="2438192" cy="2016178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3848" y="1244113"/>
            <a:ext cx="3827085" cy="6140542"/>
          </a:xfrm>
        </p:spPr>
        <p:txBody>
          <a:bodyPr anchor="t"/>
          <a:lstStyle>
            <a:lvl1pPr marL="0" indent="0">
              <a:buNone/>
              <a:defRPr sz="2645"/>
            </a:lvl1pPr>
            <a:lvl2pPr marL="377971" indent="0">
              <a:buNone/>
              <a:defRPr sz="2315"/>
            </a:lvl2pPr>
            <a:lvl3pPr marL="755942" indent="0">
              <a:buNone/>
              <a:defRPr sz="1984"/>
            </a:lvl3pPr>
            <a:lvl4pPr marL="1133914" indent="0">
              <a:buNone/>
              <a:defRPr sz="1653"/>
            </a:lvl4pPr>
            <a:lvl5pPr marL="1511885" indent="0">
              <a:buNone/>
              <a:defRPr sz="1653"/>
            </a:lvl5pPr>
            <a:lvl6pPr marL="1889857" indent="0">
              <a:buNone/>
              <a:defRPr sz="1653"/>
            </a:lvl6pPr>
            <a:lvl7pPr marL="2267827" indent="0">
              <a:buNone/>
              <a:defRPr sz="1653"/>
            </a:lvl7pPr>
            <a:lvl8pPr marL="2645799" indent="0">
              <a:buNone/>
              <a:defRPr sz="1653"/>
            </a:lvl8pPr>
            <a:lvl9pPr marL="3023771" indent="0">
              <a:buNone/>
              <a:defRPr sz="165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3" y="2592229"/>
            <a:ext cx="2438192" cy="4802425"/>
          </a:xfrm>
        </p:spPr>
        <p:txBody>
          <a:bodyPr/>
          <a:lstStyle>
            <a:lvl1pPr marL="0" indent="0">
              <a:buNone/>
              <a:defRPr sz="1323"/>
            </a:lvl1pPr>
            <a:lvl2pPr marL="377971" indent="0">
              <a:buNone/>
              <a:defRPr sz="1157"/>
            </a:lvl2pPr>
            <a:lvl3pPr marL="755942" indent="0">
              <a:buNone/>
              <a:defRPr sz="992"/>
            </a:lvl3pPr>
            <a:lvl4pPr marL="1133914" indent="0">
              <a:buNone/>
              <a:defRPr sz="827"/>
            </a:lvl4pPr>
            <a:lvl5pPr marL="1511885" indent="0">
              <a:buNone/>
              <a:defRPr sz="827"/>
            </a:lvl5pPr>
            <a:lvl6pPr marL="1889857" indent="0">
              <a:buNone/>
              <a:defRPr sz="827"/>
            </a:lvl6pPr>
            <a:lvl7pPr marL="2267827" indent="0">
              <a:buNone/>
              <a:defRPr sz="827"/>
            </a:lvl7pPr>
            <a:lvl8pPr marL="2645799" indent="0">
              <a:buNone/>
              <a:defRPr sz="827"/>
            </a:lvl8pPr>
            <a:lvl9pPr marL="3023771" indent="0">
              <a:buNone/>
              <a:defRPr sz="82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7278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728" y="460043"/>
            <a:ext cx="652022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728" y="2300205"/>
            <a:ext cx="652022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728" y="8008710"/>
            <a:ext cx="170092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4144" y="8008710"/>
            <a:ext cx="2551390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9021" y="8008710"/>
            <a:ext cx="170092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16C274-522D-4810-828B-8768F5749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861175"/>
              </p:ext>
            </p:extLst>
          </p:nvPr>
        </p:nvGraphicFramePr>
        <p:xfrm>
          <a:off x="1588" y="1285"/>
          <a:ext cx="1588" cy="1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16C274-522D-4810-828B-8768F5749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285"/>
                        <a:ext cx="1588" cy="1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5F660A1-05A1-4965-8BEF-B63DBF13169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282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37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14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755942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6" indent="-188986" algn="l" defTabSz="755942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7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28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900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71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42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814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84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56" indent="-188986" algn="l" defTabSz="755942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71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42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14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85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57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27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99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71" algn="l" defTabSz="755942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728" y="460043"/>
            <a:ext cx="652022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728" y="2300203"/>
            <a:ext cx="652022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728" y="8008709"/>
            <a:ext cx="170092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B910F-0B6E-4F6B-8A80-D1209F88E2C5}" type="datetimeFigureOut">
              <a:rPr lang="nl-NL" smtClean="0"/>
              <a:t>27-1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4143" y="8008709"/>
            <a:ext cx="2551390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9020" y="8008709"/>
            <a:ext cx="170092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B588CC-5056-4DC0-8CF0-25C2C0483366}" type="slidenum">
              <a:rPr lang="nl-NL" smtClean="0"/>
              <a:t>‹#›</a:t>
            </a:fld>
            <a:endParaRPr lang="nl-NL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16C274-522D-4810-828B-8768F5749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861175"/>
              </p:ext>
            </p:extLst>
          </p:nvPr>
        </p:nvGraphicFramePr>
        <p:xfrm>
          <a:off x="1588" y="1284"/>
          <a:ext cx="1588" cy="12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16C274-522D-4810-828B-8768F5749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284"/>
                        <a:ext cx="1588" cy="12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5F660A1-05A1-4965-8BEF-B63DBF13169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282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37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197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7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19" Type="http://schemas.openxmlformats.org/officeDocument/2006/relationships/image" Target="../media/image1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jl: links 57">
            <a:extLst>
              <a:ext uri="{FF2B5EF4-FFF2-40B4-BE49-F238E27FC236}">
                <a16:creationId xmlns:a16="http://schemas.microsoft.com/office/drawing/2014/main" id="{32262CA3-1CA7-33AA-D01D-E2C61D77006F}"/>
              </a:ext>
            </a:extLst>
          </p:cNvPr>
          <p:cNvSpPr/>
          <p:nvPr/>
        </p:nvSpPr>
        <p:spPr>
          <a:xfrm rot="10800000">
            <a:off x="459186" y="5287732"/>
            <a:ext cx="6736025" cy="2685836"/>
          </a:xfrm>
          <a:prstGeom prst="leftArrow">
            <a:avLst>
              <a:gd name="adj1" fmla="val 62710"/>
              <a:gd name="adj2" fmla="val 71361"/>
            </a:avLst>
          </a:prstGeom>
          <a:noFill/>
          <a:ln w="28575">
            <a:solidFill>
              <a:srgbClr val="57AF9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rapezium 4">
            <a:extLst>
              <a:ext uri="{FF2B5EF4-FFF2-40B4-BE49-F238E27FC236}">
                <a16:creationId xmlns:a16="http://schemas.microsoft.com/office/drawing/2014/main" id="{D5EF931E-B0A9-56A9-0C01-583849E7B7F2}"/>
              </a:ext>
            </a:extLst>
          </p:cNvPr>
          <p:cNvSpPr/>
          <p:nvPr/>
        </p:nvSpPr>
        <p:spPr>
          <a:xfrm rot="5400000">
            <a:off x="3228092" y="328691"/>
            <a:ext cx="1174020" cy="6711827"/>
          </a:xfrm>
          <a:prstGeom prst="trapezoid">
            <a:avLst/>
          </a:prstGeom>
          <a:noFill/>
          <a:ln w="19050">
            <a:solidFill>
              <a:srgbClr val="FEC8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49FB274-76B3-4A53-9DFE-8C3821B6F1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49FB274-76B3-4A53-9DFE-8C3821B6F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D99E575-50AF-4FEF-BC74-2809682D21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700" b="1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9A61AF-6B26-4C46-84DD-84BC4C279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9503" y="227850"/>
            <a:ext cx="2904071" cy="1670148"/>
          </a:xfrm>
        </p:spPr>
        <p:txBody>
          <a:bodyPr vert="horz">
            <a:normAutofit/>
          </a:bodyPr>
          <a:lstStyle/>
          <a:p>
            <a:r>
              <a:rPr lang="en-US" sz="78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2025</a:t>
            </a:r>
            <a:r>
              <a:rPr lang="en-US" sz="37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br>
              <a:rPr lang="en-US" sz="37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r>
              <a:rPr lang="en-US" sz="37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ighlights</a:t>
            </a:r>
            <a:endParaRPr lang="nl-NL" sz="3700" b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grpSp>
        <p:nvGrpSpPr>
          <p:cNvPr id="6" name="Groep 3">
            <a:extLst>
              <a:ext uri="{FF2B5EF4-FFF2-40B4-BE49-F238E27FC236}">
                <a16:creationId xmlns:a16="http://schemas.microsoft.com/office/drawing/2014/main" id="{80BD192E-9C15-4774-8BA7-E2749FA0E6C0}"/>
              </a:ext>
            </a:extLst>
          </p:cNvPr>
          <p:cNvGrpSpPr/>
          <p:nvPr/>
        </p:nvGrpSpPr>
        <p:grpSpPr>
          <a:xfrm>
            <a:off x="316528" y="485506"/>
            <a:ext cx="2693372" cy="1610035"/>
            <a:chOff x="3850406" y="2396598"/>
            <a:chExt cx="4180159" cy="2464776"/>
          </a:xfrm>
        </p:grpSpPr>
        <p:pic>
          <p:nvPicPr>
            <p:cNvPr id="7" name="Picture 8">
              <a:extLst>
                <a:ext uri="{FF2B5EF4-FFF2-40B4-BE49-F238E27FC236}">
                  <a16:creationId xmlns:a16="http://schemas.microsoft.com/office/drawing/2014/main" id="{A077B158-06B1-407D-9399-653EBF148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50406" y="3649237"/>
              <a:ext cx="3071360" cy="121213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B15B57B-CB60-4FB1-8F73-7061F24944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8986" y="3953132"/>
              <a:ext cx="1591579" cy="6058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7">
              <a:extLst>
                <a:ext uri="{FF2B5EF4-FFF2-40B4-BE49-F238E27FC236}">
                  <a16:creationId xmlns:a16="http://schemas.microsoft.com/office/drawing/2014/main" id="{EBCA1616-6F19-434F-A6F3-DBF871AD5E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22214"/>
            <a:stretch/>
          </p:blipFill>
          <p:spPr>
            <a:xfrm>
              <a:off x="4298379" y="2396598"/>
              <a:ext cx="3712656" cy="1254119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A0B1C62-B94E-447C-A302-CA39EF127231}"/>
              </a:ext>
            </a:extLst>
          </p:cNvPr>
          <p:cNvSpPr txBox="1"/>
          <p:nvPr/>
        </p:nvSpPr>
        <p:spPr>
          <a:xfrm flipH="1">
            <a:off x="-63456" y="2441197"/>
            <a:ext cx="746430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100" b="1" dirty="0">
                <a:solidFill>
                  <a:srgbClr val="4472C4"/>
                </a:solidFill>
                <a:latin typeface="Merriweather" panose="00000500000000000000" pitchFamily="2" charset="0"/>
                <a:ea typeface="Open Sans" pitchFamily="2" charset="0"/>
                <a:cs typeface="Open Sans" pitchFamily="2" charset="0"/>
              </a:rPr>
              <a:t>Academic inventions – from science to market</a:t>
            </a:r>
            <a:endParaRPr lang="nl-NL" sz="2100" b="1" dirty="0">
              <a:solidFill>
                <a:srgbClr val="4472C4"/>
              </a:solidFill>
              <a:latin typeface="Merriweather" panose="00000500000000000000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B39C62-3DB9-4FF6-A5E0-785350596465}"/>
              </a:ext>
            </a:extLst>
          </p:cNvPr>
          <p:cNvSpPr txBox="1"/>
          <p:nvPr/>
        </p:nvSpPr>
        <p:spPr>
          <a:xfrm>
            <a:off x="5356994" y="8367986"/>
            <a:ext cx="21937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i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trecht Holdings Impact 2025</a:t>
            </a:r>
            <a:endParaRPr lang="nl-NL" sz="1100" i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F70C1D9-A4CE-4C06-BC52-05280606CEA9}"/>
              </a:ext>
            </a:extLst>
          </p:cNvPr>
          <p:cNvSpPr txBox="1"/>
          <p:nvPr/>
        </p:nvSpPr>
        <p:spPr>
          <a:xfrm>
            <a:off x="3674578" y="3284961"/>
            <a:ext cx="9703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21</a:t>
            </a:r>
            <a:endParaRPr lang="nl-NL" sz="4400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87F623-7165-4458-97B7-F8D435B25DF1}"/>
              </a:ext>
            </a:extLst>
          </p:cNvPr>
          <p:cNvSpPr txBox="1"/>
          <p:nvPr/>
        </p:nvSpPr>
        <p:spPr>
          <a:xfrm>
            <a:off x="6094243" y="3364140"/>
            <a:ext cx="100391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16</a:t>
            </a:r>
            <a:endParaRPr lang="nl-NL" sz="3600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94D00C-EC6D-421E-8F29-70C3245D4599}"/>
              </a:ext>
            </a:extLst>
          </p:cNvPr>
          <p:cNvSpPr txBox="1"/>
          <p:nvPr/>
        </p:nvSpPr>
        <p:spPr>
          <a:xfrm>
            <a:off x="2997316" y="4351402"/>
            <a:ext cx="188468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atents filed</a:t>
            </a:r>
            <a:endParaRPr lang="nl-NL" sz="1000" b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9182743-FA24-4AE8-BDEE-86F473092461}"/>
              </a:ext>
            </a:extLst>
          </p:cNvPr>
          <p:cNvSpPr txBox="1"/>
          <p:nvPr/>
        </p:nvSpPr>
        <p:spPr>
          <a:xfrm>
            <a:off x="5488944" y="4327744"/>
            <a:ext cx="18846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Finalized licenses and contract</a:t>
            </a:r>
            <a:endParaRPr lang="nl-NL" sz="1000" b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DCDD26-66BF-4856-9C2B-EDE0122D60DD}"/>
              </a:ext>
            </a:extLst>
          </p:cNvPr>
          <p:cNvSpPr txBox="1"/>
          <p:nvPr/>
        </p:nvSpPr>
        <p:spPr>
          <a:xfrm flipH="1">
            <a:off x="-192376" y="4992040"/>
            <a:ext cx="508565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100" b="1" dirty="0">
                <a:solidFill>
                  <a:srgbClr val="4472C4"/>
                </a:solidFill>
                <a:latin typeface="Merriweather" panose="00000500000000000000" pitchFamily="2" charset="0"/>
                <a:ea typeface="Open Sans" pitchFamily="2" charset="0"/>
                <a:cs typeface="Open Sans" pitchFamily="2" charset="0"/>
              </a:rPr>
              <a:t>Venture funding &amp; support</a:t>
            </a:r>
            <a:endParaRPr lang="nl-NL" sz="2100" b="1" dirty="0">
              <a:solidFill>
                <a:srgbClr val="4472C4"/>
              </a:solidFill>
              <a:latin typeface="Merriweather" panose="00000500000000000000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41B0ACF-5C3A-4FDC-9E85-84C2DF2722B6}"/>
              </a:ext>
            </a:extLst>
          </p:cNvPr>
          <p:cNvSpPr txBox="1"/>
          <p:nvPr/>
        </p:nvSpPr>
        <p:spPr>
          <a:xfrm>
            <a:off x="2960119" y="6836529"/>
            <a:ext cx="21937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nvestments made</a:t>
            </a:r>
          </a:p>
          <a:p>
            <a:endParaRPr lang="nl-NL" sz="1200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EFE25EF-BA92-4467-AF73-D03A04E88588}"/>
              </a:ext>
            </a:extLst>
          </p:cNvPr>
          <p:cNvSpPr txBox="1"/>
          <p:nvPr/>
        </p:nvSpPr>
        <p:spPr>
          <a:xfrm>
            <a:off x="1006342" y="5948424"/>
            <a:ext cx="1303909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3</a:t>
            </a:r>
            <a:endParaRPr lang="nl-NL" sz="5400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A0ACEDA-D140-4B33-8CC9-3745AC1BBE52}"/>
              </a:ext>
            </a:extLst>
          </p:cNvPr>
          <p:cNvSpPr txBox="1"/>
          <p:nvPr/>
        </p:nvSpPr>
        <p:spPr>
          <a:xfrm>
            <a:off x="486365" y="6836529"/>
            <a:ext cx="1847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pin-out companies</a:t>
            </a:r>
          </a:p>
          <a:p>
            <a:r>
              <a:rPr lang="en-US" sz="1200" b="1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formed</a:t>
            </a:r>
            <a:endParaRPr lang="nl-NL" sz="1200" b="1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99409A0-A2A9-4E5B-9940-A129B4C2D4B7}"/>
              </a:ext>
            </a:extLst>
          </p:cNvPr>
          <p:cNvSpPr txBox="1"/>
          <p:nvPr/>
        </p:nvSpPr>
        <p:spPr>
          <a:xfrm>
            <a:off x="5905064" y="6029485"/>
            <a:ext cx="761893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4</a:t>
            </a:r>
            <a:endParaRPr lang="nl-NL" sz="5400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C36268D-BF35-4DD0-B394-1FBAC2B17978}"/>
              </a:ext>
            </a:extLst>
          </p:cNvPr>
          <p:cNvSpPr txBox="1"/>
          <p:nvPr/>
        </p:nvSpPr>
        <p:spPr>
          <a:xfrm>
            <a:off x="5299167" y="6836529"/>
            <a:ext cx="1175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xits realized</a:t>
            </a:r>
            <a:endParaRPr lang="nl-NL" sz="120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7" name="Graphic 16" descr="Gloeilamp met effen opvulling">
            <a:extLst>
              <a:ext uri="{FF2B5EF4-FFF2-40B4-BE49-F238E27FC236}">
                <a16:creationId xmlns:a16="http://schemas.microsoft.com/office/drawing/2014/main" id="{B2548643-FE58-7AF1-5F1F-0489460209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6975" y="3219004"/>
            <a:ext cx="813070" cy="813070"/>
          </a:xfrm>
          <a:prstGeom prst="rect">
            <a:avLst/>
          </a:prstGeom>
        </p:spPr>
      </p:pic>
      <p:pic>
        <p:nvPicPr>
          <p:cNvPr id="21" name="Graphic 20" descr="Dicht boek met effen opvulling">
            <a:extLst>
              <a:ext uri="{FF2B5EF4-FFF2-40B4-BE49-F238E27FC236}">
                <a16:creationId xmlns:a16="http://schemas.microsoft.com/office/drawing/2014/main" id="{58E8EB77-BB89-7E0A-68DC-686D8CCC8F2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02258" y="3318582"/>
            <a:ext cx="732043" cy="732043"/>
          </a:xfrm>
          <a:prstGeom prst="rect">
            <a:avLst/>
          </a:prstGeom>
        </p:spPr>
      </p:pic>
      <p:pic>
        <p:nvPicPr>
          <p:cNvPr id="28" name="Graphic 27" descr="Handdruk met effen opvulling">
            <a:extLst>
              <a:ext uri="{FF2B5EF4-FFF2-40B4-BE49-F238E27FC236}">
                <a16:creationId xmlns:a16="http://schemas.microsoft.com/office/drawing/2014/main" id="{36D9CBFA-8EA7-DD2E-1D73-B36A77EC580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391396" y="3318582"/>
            <a:ext cx="775709" cy="775709"/>
          </a:xfrm>
          <a:prstGeom prst="rect">
            <a:avLst/>
          </a:prstGeom>
        </p:spPr>
      </p:pic>
      <p:pic>
        <p:nvPicPr>
          <p:cNvPr id="35" name="Graphic 34" descr="Plant met effen opvulling">
            <a:extLst>
              <a:ext uri="{FF2B5EF4-FFF2-40B4-BE49-F238E27FC236}">
                <a16:creationId xmlns:a16="http://schemas.microsoft.com/office/drawing/2014/main" id="{4A54D99B-5595-50A2-608A-7F080037AF7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40040" y="5874812"/>
            <a:ext cx="959788" cy="959788"/>
          </a:xfrm>
          <a:prstGeom prst="rect">
            <a:avLst/>
          </a:prstGeom>
        </p:spPr>
      </p:pic>
      <p:pic>
        <p:nvPicPr>
          <p:cNvPr id="42" name="Graphic 41" descr="Open hand met planten met effen opvulling">
            <a:extLst>
              <a:ext uri="{FF2B5EF4-FFF2-40B4-BE49-F238E27FC236}">
                <a16:creationId xmlns:a16="http://schemas.microsoft.com/office/drawing/2014/main" id="{B89D9F6B-C052-841B-A02C-ED1814FDDC5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19590" y="5950322"/>
            <a:ext cx="914400" cy="914400"/>
          </a:xfrm>
          <a:prstGeom prst="rect">
            <a:avLst/>
          </a:prstGeom>
        </p:spPr>
      </p:pic>
      <p:grpSp>
        <p:nvGrpSpPr>
          <p:cNvPr id="59" name="Groep 58">
            <a:extLst>
              <a:ext uri="{FF2B5EF4-FFF2-40B4-BE49-F238E27FC236}">
                <a16:creationId xmlns:a16="http://schemas.microsoft.com/office/drawing/2014/main" id="{814AB667-9454-8D97-B847-D43371EADDEC}"/>
              </a:ext>
            </a:extLst>
          </p:cNvPr>
          <p:cNvGrpSpPr/>
          <p:nvPr/>
        </p:nvGrpSpPr>
        <p:grpSpPr>
          <a:xfrm>
            <a:off x="3207030" y="5980565"/>
            <a:ext cx="627839" cy="819251"/>
            <a:chOff x="2779067" y="5755231"/>
            <a:chExt cx="627839" cy="819251"/>
          </a:xfrm>
        </p:grpSpPr>
        <p:pic>
          <p:nvPicPr>
            <p:cNvPr id="50" name="Graphic 49" descr="Water met effen opvulling">
              <a:extLst>
                <a:ext uri="{FF2B5EF4-FFF2-40B4-BE49-F238E27FC236}">
                  <a16:creationId xmlns:a16="http://schemas.microsoft.com/office/drawing/2014/main" id="{16058853-F437-8255-392D-3E6744981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779067" y="5755231"/>
              <a:ext cx="461665" cy="461665"/>
            </a:xfrm>
            <a:prstGeom prst="rect">
              <a:avLst/>
            </a:prstGeom>
          </p:spPr>
        </p:pic>
        <p:pic>
          <p:nvPicPr>
            <p:cNvPr id="51" name="Graphic 50" descr="Water met effen opvulling">
              <a:extLst>
                <a:ext uri="{FF2B5EF4-FFF2-40B4-BE49-F238E27FC236}">
                  <a16:creationId xmlns:a16="http://schemas.microsoft.com/office/drawing/2014/main" id="{F555F819-3BC1-A356-62BE-2850B763A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915689" y="6112817"/>
              <a:ext cx="461665" cy="461665"/>
            </a:xfrm>
            <a:prstGeom prst="rect">
              <a:avLst/>
            </a:prstGeom>
          </p:spPr>
        </p:pic>
        <p:pic>
          <p:nvPicPr>
            <p:cNvPr id="55" name="Graphic 54" descr="Water met effen opvulling">
              <a:extLst>
                <a:ext uri="{FF2B5EF4-FFF2-40B4-BE49-F238E27FC236}">
                  <a16:creationId xmlns:a16="http://schemas.microsoft.com/office/drawing/2014/main" id="{69B8482D-DEAE-96EB-AF49-0731DBCE2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132586" y="5992212"/>
              <a:ext cx="274320" cy="274320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B0585B-2751-DDA9-7440-FCBA59313463}"/>
              </a:ext>
            </a:extLst>
          </p:cNvPr>
          <p:cNvSpPr txBox="1"/>
          <p:nvPr/>
        </p:nvSpPr>
        <p:spPr>
          <a:xfrm>
            <a:off x="769441" y="4395658"/>
            <a:ext cx="8771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Open Sans  "/>
              </a:rPr>
              <a:t>New Leads</a:t>
            </a:r>
            <a:endParaRPr lang="nl-NL" sz="1000" b="1" dirty="0">
              <a:solidFill>
                <a:schemeClr val="bg2">
                  <a:lumMod val="50000"/>
                </a:schemeClr>
              </a:solidFill>
              <a:latin typeface="Open Sans  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33C968-F493-E363-16E7-4008222922EB}"/>
              </a:ext>
            </a:extLst>
          </p:cNvPr>
          <p:cNvSpPr txBox="1"/>
          <p:nvPr/>
        </p:nvSpPr>
        <p:spPr>
          <a:xfrm>
            <a:off x="1307364" y="3211972"/>
            <a:ext cx="10949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solidFill>
                  <a:schemeClr val="bg2">
                    <a:lumMod val="50000"/>
                  </a:schemeClr>
                </a:solidFill>
                <a:latin typeface="Open Sans  "/>
                <a:ea typeface="Open Sans Light" panose="020B0306030504020204" pitchFamily="34" charset="0"/>
                <a:cs typeface="Open Sans Light" panose="020B0306030504020204" pitchFamily="34" charset="0"/>
              </a:rPr>
              <a:t>47</a:t>
            </a:r>
            <a:endParaRPr lang="nl-NL" sz="5400" dirty="0">
              <a:solidFill>
                <a:schemeClr val="bg2">
                  <a:lumMod val="50000"/>
                </a:schemeClr>
              </a:solidFill>
              <a:latin typeface="Open Sans  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696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01FA4E-E9E1-4D7D-B19E-D1D35CF1A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-102393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01FA4E-E9E1-4D7D-B19E-D1D35CF1A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-102393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4BD9BA3-31A3-4F3E-AC63-D90A0F400035}"/>
              </a:ext>
            </a:extLst>
          </p:cNvPr>
          <p:cNvSpPr/>
          <p:nvPr/>
        </p:nvSpPr>
        <p:spPr>
          <a:xfrm>
            <a:off x="145417" y="355693"/>
            <a:ext cx="7125434" cy="4240105"/>
          </a:xfrm>
          <a:prstGeom prst="roundRect">
            <a:avLst>
              <a:gd name="adj" fmla="val 69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508C04-CBA2-4DEB-8B35-E5245C2D2E03}"/>
              </a:ext>
            </a:extLst>
          </p:cNvPr>
          <p:cNvSpPr txBox="1"/>
          <p:nvPr/>
        </p:nvSpPr>
        <p:spPr>
          <a:xfrm>
            <a:off x="145417" y="579137"/>
            <a:ext cx="77795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i="0" dirty="0">
                <a:solidFill>
                  <a:schemeClr val="accent1">
                    <a:lumMod val="75000"/>
                  </a:schemeClr>
                </a:solidFill>
                <a:effectLst/>
                <a:latin typeface="Merriweather" panose="02060503050406030704" pitchFamily="18" charset="0"/>
              </a:rPr>
              <a:t>Awarded 8 promising projects with a 25,000 voucher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6BD3A4-B725-4402-B54A-50F5A0B11CE1}"/>
              </a:ext>
            </a:extLst>
          </p:cNvPr>
          <p:cNvSpPr txBox="1"/>
          <p:nvPr/>
        </p:nvSpPr>
        <p:spPr>
          <a:xfrm>
            <a:off x="3605497" y="5396682"/>
            <a:ext cx="1871066" cy="11079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ucher 3</a:t>
            </a:r>
          </a:p>
          <a:p>
            <a:pPr algn="l"/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nsforming genetic discovery into treatment for ALS</a:t>
            </a:r>
          </a:p>
          <a:p>
            <a:pPr algn="l"/>
            <a:r>
              <a:rPr lang="en-US" sz="11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 </a:t>
            </a:r>
            <a:r>
              <a:rPr lang="en-US" sz="11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uter</a:t>
            </a:r>
            <a:r>
              <a:rPr lang="en-US" sz="11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an </a:t>
            </a:r>
            <a:r>
              <a:rPr lang="en-US" sz="11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heenen</a:t>
            </a:r>
            <a:r>
              <a:rPr lang="en-US" sz="11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</a:t>
            </a:r>
            <a:r>
              <a:rPr lang="en-US" sz="11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mshidhar</a:t>
            </a:r>
            <a:r>
              <a:rPr lang="en-US" sz="11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ngoor</a:t>
            </a:r>
            <a:endParaRPr lang="en-US" sz="1100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8">
            <a:extLst>
              <a:ext uri="{FF2B5EF4-FFF2-40B4-BE49-F238E27FC236}">
                <a16:creationId xmlns:a16="http://schemas.microsoft.com/office/drawing/2014/main" id="{750E172C-E9BD-1473-F885-E3550765FF69}"/>
              </a:ext>
            </a:extLst>
          </p:cNvPr>
          <p:cNvSpPr txBox="1"/>
          <p:nvPr/>
        </p:nvSpPr>
        <p:spPr>
          <a:xfrm>
            <a:off x="5356994" y="8367986"/>
            <a:ext cx="21937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i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trecht Holdings Impact 2025</a:t>
            </a:r>
            <a:endParaRPr lang="nl-NL" sz="1100" i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84AA38B5-22C9-F29F-02C8-C242FB9FE08B}"/>
              </a:ext>
            </a:extLst>
          </p:cNvPr>
          <p:cNvSpPr txBox="1"/>
          <p:nvPr/>
        </p:nvSpPr>
        <p:spPr>
          <a:xfrm>
            <a:off x="287950" y="1836662"/>
            <a:ext cx="6635094" cy="2955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129994EF-F84B-7AC3-6626-E6A82A2A56F4}"/>
              </a:ext>
            </a:extLst>
          </p:cNvPr>
          <p:cNvSpPr txBox="1"/>
          <p:nvPr/>
        </p:nvSpPr>
        <p:spPr>
          <a:xfrm>
            <a:off x="1950193" y="5396682"/>
            <a:ext cx="1707407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0" dirty="0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ucher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dirty="0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ing prime </a:t>
            </a:r>
            <a:r>
              <a:rPr lang="en-US" sz="1000" b="0" i="0" dirty="0" err="1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iting</a:t>
            </a:r>
            <a:r>
              <a:rPr lang="en-US" sz="1000" b="0" i="0" dirty="0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fficienc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 Paul </a:t>
            </a:r>
            <a:r>
              <a:rPr lang="en-US" sz="1000" i="1" dirty="0" err="1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hurmann</a:t>
            </a:r>
            <a:r>
              <a:rPr lang="en-US" sz="1000" i="1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000" i="1" dirty="0" err="1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ij</a:t>
            </a:r>
            <a:r>
              <a:rPr lang="en-US" sz="1000" i="1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an Breda </a:t>
            </a:r>
            <a:r>
              <a:rPr lang="en-US" sz="1000" i="1" dirty="0" err="1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riesman</a:t>
            </a:r>
            <a:r>
              <a:rPr lang="en-US" sz="1000" i="1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i="1" dirty="0" err="1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</a:t>
            </a:r>
            <a:r>
              <a:rPr lang="en-US" sz="1000" i="1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abine Fuchs</a:t>
            </a:r>
            <a:endParaRPr lang="en-US" sz="1000" b="0" i="1" dirty="0">
              <a:solidFill>
                <a:srgbClr val="222222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102D5326-D5C2-9F91-DA11-959D2C471FAF}"/>
              </a:ext>
            </a:extLst>
          </p:cNvPr>
          <p:cNvSpPr txBox="1"/>
          <p:nvPr/>
        </p:nvSpPr>
        <p:spPr>
          <a:xfrm>
            <a:off x="246575" y="4950263"/>
            <a:ext cx="378956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 dirty="0" err="1"/>
              <a:t>Introduction</a:t>
            </a:r>
            <a:r>
              <a:rPr lang="nl-NL" b="1" dirty="0"/>
              <a:t> of </a:t>
            </a:r>
            <a:r>
              <a:rPr lang="nl-NL" b="1" dirty="0" err="1"/>
              <a:t>the</a:t>
            </a:r>
            <a:r>
              <a:rPr lang="nl-NL" b="1" dirty="0"/>
              <a:t> winning vouchers:</a:t>
            </a:r>
          </a:p>
          <a:p>
            <a:endParaRPr lang="nl-NL" sz="800" b="1" dirty="0"/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1E1FB81A-F91A-B61E-3C97-908907E6F84C}"/>
              </a:ext>
            </a:extLst>
          </p:cNvPr>
          <p:cNvSpPr txBox="1"/>
          <p:nvPr/>
        </p:nvSpPr>
        <p:spPr>
          <a:xfrm>
            <a:off x="255025" y="5396682"/>
            <a:ext cx="18710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000" b="1" i="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ucher 1</a:t>
            </a:r>
          </a:p>
          <a:p>
            <a:r>
              <a:rPr lang="nl-NL" sz="1000" b="0" i="0" dirty="0" err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croRNA</a:t>
            </a:r>
            <a:r>
              <a:rPr lang="nl-NL" sz="1000" b="0" i="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anel </a:t>
            </a:r>
            <a:r>
              <a:rPr lang="nl-NL" sz="1000" b="0" i="0" dirty="0" err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</a:t>
            </a:r>
            <a:r>
              <a:rPr lang="nl-NL" sz="1000" b="0" i="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sz="1000" b="0" i="0" dirty="0" err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east</a:t>
            </a:r>
            <a:r>
              <a:rPr lang="nl-NL" sz="1000" b="0" i="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sz="1000" b="0" i="0" dirty="0" err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ncer</a:t>
            </a:r>
            <a:r>
              <a:rPr lang="nl-NL" sz="1000" b="0" i="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sz="1000" b="0" i="0" dirty="0" err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ection</a:t>
            </a:r>
            <a:endParaRPr lang="nl-NL" sz="1000" b="0" i="0" dirty="0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nl-NL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</a:t>
            </a:r>
            <a:r>
              <a:rPr lang="nl-NL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thy </a:t>
            </a:r>
            <a:r>
              <a:rPr lang="nl-NL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elans</a:t>
            </a:r>
            <a:r>
              <a:rPr lang="nl-NL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Paul van Diest en </a:t>
            </a:r>
            <a:r>
              <a:rPr lang="nl-NL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sken</a:t>
            </a:r>
            <a:r>
              <a:rPr lang="nl-NL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an der Wall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A9BAE2B3-033E-46BE-C351-A6FC1B8168E9}"/>
              </a:ext>
            </a:extLst>
          </p:cNvPr>
          <p:cNvSpPr txBox="1"/>
          <p:nvPr/>
        </p:nvSpPr>
        <p:spPr>
          <a:xfrm>
            <a:off x="287949" y="6606294"/>
            <a:ext cx="16042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ucher 5</a:t>
            </a:r>
          </a:p>
          <a:p>
            <a:r>
              <a: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new diagnostic modality for angina with non-obstructive coronary arteries</a:t>
            </a:r>
          </a:p>
          <a:p>
            <a:r>
              <a:rPr lang="en-US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 Tim </a:t>
            </a:r>
            <a:r>
              <a:rPr lang="en-US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kkers</a:t>
            </a:r>
            <a:r>
              <a:rPr lang="en-US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Hester den </a:t>
            </a:r>
            <a:r>
              <a:rPr lang="en-US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ijter</a:t>
            </a:r>
            <a:r>
              <a:rPr lang="en-US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</a:t>
            </a:r>
            <a:r>
              <a:rPr lang="en-US" sz="1000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rnest Diez </a:t>
            </a:r>
            <a:r>
              <a:rPr lang="en-US" sz="1000" i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navante</a:t>
            </a:r>
            <a:endParaRPr lang="en-US" sz="1000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B921C6B-3732-C526-AB00-E2CDC861A5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509" y="1955154"/>
            <a:ext cx="2872969" cy="165275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D6BA09-489A-1D8F-BC23-AA06075D91B6}"/>
              </a:ext>
            </a:extLst>
          </p:cNvPr>
          <p:cNvSpPr txBox="1"/>
          <p:nvPr/>
        </p:nvSpPr>
        <p:spPr>
          <a:xfrm>
            <a:off x="5356993" y="5396682"/>
            <a:ext cx="164132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Voucher 4 </a:t>
            </a:r>
          </a:p>
          <a:p>
            <a:r>
              <a:rPr lang="en-US" sz="1100" dirty="0"/>
              <a:t>New powerful astatine-211 radiopharmaceuticals</a:t>
            </a:r>
          </a:p>
          <a:p>
            <a:r>
              <a:rPr lang="en-US" sz="1100" i="1" dirty="0"/>
              <a:t>By Berend van der </a:t>
            </a:r>
            <a:r>
              <a:rPr lang="en-US" sz="1100" i="1" dirty="0" err="1"/>
              <a:t>Wildt</a:t>
            </a:r>
            <a:r>
              <a:rPr lang="en-US" sz="1100" i="1" dirty="0"/>
              <a:t> </a:t>
            </a:r>
            <a:r>
              <a:rPr lang="en-US" sz="1100" i="1" dirty="0" err="1"/>
              <a:t>en</a:t>
            </a:r>
            <a:r>
              <a:rPr lang="en-US" sz="1100" i="1" dirty="0"/>
              <a:t> Alex Poot</a:t>
            </a:r>
            <a:endParaRPr lang="nl-NL" sz="1100" i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A70C26-082D-8483-DB0A-3CCBF4D1F44F}"/>
              </a:ext>
            </a:extLst>
          </p:cNvPr>
          <p:cNvSpPr txBox="1"/>
          <p:nvPr/>
        </p:nvSpPr>
        <p:spPr>
          <a:xfrm>
            <a:off x="1950193" y="6714016"/>
            <a:ext cx="160425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Voucher 6</a:t>
            </a:r>
            <a:r>
              <a:rPr lang="en-US" sz="1100" dirty="0"/>
              <a:t> </a:t>
            </a:r>
          </a:p>
          <a:p>
            <a:r>
              <a:rPr lang="en-US" sz="1100" dirty="0"/>
              <a:t>U-</a:t>
            </a:r>
            <a:r>
              <a:rPr lang="en-US" sz="1100" dirty="0" err="1"/>
              <a:t>WorkWell</a:t>
            </a:r>
            <a:endParaRPr lang="en-US" sz="1100" dirty="0"/>
          </a:p>
          <a:p>
            <a:r>
              <a:rPr lang="en-US" sz="1100" i="1" dirty="0"/>
              <a:t>By Iris </a:t>
            </a:r>
            <a:r>
              <a:rPr lang="en-US" sz="1100" i="1" dirty="0" err="1"/>
              <a:t>Beerepoot</a:t>
            </a:r>
            <a:r>
              <a:rPr lang="en-US" sz="1100" i="1" dirty="0"/>
              <a:t>, </a:t>
            </a:r>
            <a:r>
              <a:rPr lang="en-US" sz="1100" i="1" dirty="0" err="1"/>
              <a:t>Hajo</a:t>
            </a:r>
            <a:r>
              <a:rPr lang="en-US" sz="1100" i="1" dirty="0"/>
              <a:t> </a:t>
            </a:r>
            <a:r>
              <a:rPr lang="en-US" sz="1100" i="1" dirty="0" err="1"/>
              <a:t>Reijers</a:t>
            </a:r>
            <a:r>
              <a:rPr lang="en-US" sz="1100" i="1" dirty="0"/>
              <a:t> </a:t>
            </a:r>
            <a:r>
              <a:rPr lang="en-US" sz="1100" i="1" dirty="0" err="1"/>
              <a:t>en</a:t>
            </a:r>
            <a:r>
              <a:rPr lang="en-US" sz="1100" i="1" dirty="0"/>
              <a:t> Thomas Martens</a:t>
            </a:r>
            <a:endParaRPr lang="nl-NL" sz="1100" i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26B5A3-0B49-19C0-EAA8-6242CDE553F0}"/>
              </a:ext>
            </a:extLst>
          </p:cNvPr>
          <p:cNvSpPr txBox="1"/>
          <p:nvPr/>
        </p:nvSpPr>
        <p:spPr>
          <a:xfrm>
            <a:off x="3657600" y="6714016"/>
            <a:ext cx="14456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Voucher 7</a:t>
            </a:r>
            <a:r>
              <a:rPr lang="en-US" sz="1100" dirty="0"/>
              <a:t> </a:t>
            </a:r>
          </a:p>
          <a:p>
            <a:r>
              <a:rPr lang="en-US" sz="1100" dirty="0"/>
              <a:t>Antifungal volatiles </a:t>
            </a:r>
            <a:r>
              <a:rPr lang="en-US" sz="1100" dirty="0" err="1"/>
              <a:t>te</a:t>
            </a:r>
            <a:r>
              <a:rPr lang="en-US" sz="1100" dirty="0"/>
              <a:t> treat human fungal infections</a:t>
            </a:r>
          </a:p>
          <a:p>
            <a:r>
              <a:rPr lang="en-US" sz="1100" i="1" dirty="0"/>
              <a:t>By </a:t>
            </a:r>
            <a:r>
              <a:rPr lang="en-US" sz="1100" i="1" dirty="0" err="1"/>
              <a:t>Robert_jan</a:t>
            </a:r>
            <a:r>
              <a:rPr lang="en-US" sz="1100" i="1" dirty="0"/>
              <a:t> </a:t>
            </a:r>
            <a:r>
              <a:rPr lang="en-US" sz="1100" i="1" dirty="0" err="1"/>
              <a:t>Bleichrodt</a:t>
            </a:r>
            <a:endParaRPr lang="nl-NL" sz="1100" i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748816-4AA3-EE4E-AF9E-40AC32B4B974}"/>
              </a:ext>
            </a:extLst>
          </p:cNvPr>
          <p:cNvSpPr txBox="1"/>
          <p:nvPr/>
        </p:nvSpPr>
        <p:spPr>
          <a:xfrm>
            <a:off x="5385633" y="6714209"/>
            <a:ext cx="181360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Voucher </a:t>
            </a:r>
            <a:r>
              <a:rPr lang="en-US" sz="1100" b="1"/>
              <a:t>8 </a:t>
            </a:r>
          </a:p>
          <a:p>
            <a:r>
              <a:rPr lang="en-US" sz="1100"/>
              <a:t>The </a:t>
            </a:r>
            <a:r>
              <a:rPr lang="en-US" sz="1100" dirty="0"/>
              <a:t>Bactericidal combination of D-amino acids and antimicrobial peptides to treat antibiotic resistant bacteria</a:t>
            </a:r>
          </a:p>
          <a:p>
            <a:r>
              <a:rPr lang="en-US" sz="1100" i="1" dirty="0"/>
              <a:t>By Edwin </a:t>
            </a:r>
            <a:r>
              <a:rPr lang="en-US" sz="1100" i="1" dirty="0" err="1"/>
              <a:t>Velhuizen</a:t>
            </a:r>
            <a:r>
              <a:rPr lang="en-US" sz="1100" i="1" dirty="0"/>
              <a:t> </a:t>
            </a:r>
            <a:r>
              <a:rPr lang="en-US" sz="1100" i="1" dirty="0" err="1"/>
              <a:t>en</a:t>
            </a:r>
            <a:r>
              <a:rPr lang="en-US" sz="1100" i="1" dirty="0"/>
              <a:t> Marc </a:t>
            </a:r>
            <a:r>
              <a:rPr lang="en-US" sz="1100" i="1" dirty="0" err="1"/>
              <a:t>Wosten</a:t>
            </a:r>
            <a:endParaRPr lang="nl-NL" sz="1100" i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32FE24-5707-9FE1-99E5-2B0896EAD1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529" y="1333712"/>
            <a:ext cx="2285917" cy="342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34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0E442567-9DA3-74AF-1080-CD22B89B8C92}"/>
              </a:ext>
            </a:extLst>
          </p:cNvPr>
          <p:cNvSpPr/>
          <p:nvPr/>
        </p:nvSpPr>
        <p:spPr>
          <a:xfrm>
            <a:off x="1079872" y="7114521"/>
            <a:ext cx="6224016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01FA4E-E9E1-4D7D-B19E-D1D35CF1A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-102393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01FA4E-E9E1-4D7D-B19E-D1D35CF1A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-102393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C3E2765-BCC8-4C51-9251-2FE2B3809430}"/>
              </a:ext>
            </a:extLst>
          </p:cNvPr>
          <p:cNvSpPr/>
          <p:nvPr/>
        </p:nvSpPr>
        <p:spPr>
          <a:xfrm>
            <a:off x="184148" y="237067"/>
            <a:ext cx="7129088" cy="8076262"/>
          </a:xfrm>
          <a:prstGeom prst="roundRect">
            <a:avLst>
              <a:gd name="adj" fmla="val 699"/>
            </a:avLst>
          </a:prstGeom>
          <a:solidFill>
            <a:srgbClr val="0065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</a:pPr>
            <a:endParaRPr lang="en-US" sz="12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algn="l" rtl="0" fontAlgn="ctr">
              <a:spcBef>
                <a:spcPts val="0"/>
              </a:spcBef>
              <a:spcAft>
                <a:spcPts val="0"/>
              </a:spcAft>
            </a:pPr>
            <a:r>
              <a:rPr lang="en-US" sz="1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6770B13-9C18-4C24-807E-485E2753D828}"/>
              </a:ext>
            </a:extLst>
          </p:cNvPr>
          <p:cNvSpPr/>
          <p:nvPr/>
        </p:nvSpPr>
        <p:spPr>
          <a:xfrm>
            <a:off x="344309" y="1278489"/>
            <a:ext cx="3435528" cy="1200329"/>
          </a:xfrm>
          <a:prstGeom prst="roundRect">
            <a:avLst>
              <a:gd name="adj" fmla="val 29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?e 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" name="TextBox 18">
            <a:extLst>
              <a:ext uri="{FF2B5EF4-FFF2-40B4-BE49-F238E27FC236}">
                <a16:creationId xmlns:a16="http://schemas.microsoft.com/office/drawing/2014/main" id="{C362AAAB-E15E-CD32-67C5-F1EB7B08FC0F}"/>
              </a:ext>
            </a:extLst>
          </p:cNvPr>
          <p:cNvSpPr txBox="1"/>
          <p:nvPr/>
        </p:nvSpPr>
        <p:spPr>
          <a:xfrm>
            <a:off x="5356994" y="8367986"/>
            <a:ext cx="21937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i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trecht Holdings Impact 2025</a:t>
            </a:r>
            <a:endParaRPr lang="nl-NL" sz="1100" i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2AF27102-5C45-942C-2B35-3836B40A68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5757" y="4707188"/>
            <a:ext cx="1476388" cy="1476388"/>
          </a:xfrm>
          <a:prstGeom prst="rect">
            <a:avLst/>
          </a:prstGeom>
        </p:spPr>
      </p:pic>
      <p:pic>
        <p:nvPicPr>
          <p:cNvPr id="1026" name="Picture 2" descr="TargED raises 39 million euros to develop targeted thrombolytic treatment |  Biotechnology | The Pharmaletter | The Pharmaletter">
            <a:extLst>
              <a:ext uri="{FF2B5EF4-FFF2-40B4-BE49-F238E27FC236}">
                <a16:creationId xmlns:a16="http://schemas.microsoft.com/office/drawing/2014/main" id="{D0C23C1F-229A-A8AC-4BE2-E17803F2D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979" y="6100907"/>
            <a:ext cx="1350713" cy="839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hoek 16">
            <a:extLst>
              <a:ext uri="{FF2B5EF4-FFF2-40B4-BE49-F238E27FC236}">
                <a16:creationId xmlns:a16="http://schemas.microsoft.com/office/drawing/2014/main" id="{B64F5C77-9651-8951-3FBF-74ED8B983B5B}"/>
              </a:ext>
            </a:extLst>
          </p:cNvPr>
          <p:cNvSpPr/>
          <p:nvPr/>
        </p:nvSpPr>
        <p:spPr>
          <a:xfrm>
            <a:off x="353657" y="7240830"/>
            <a:ext cx="4850521" cy="928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base"/>
            <a:r>
              <a:rPr lang="en-US" sz="1000" i="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				        1200 students were placed by </a:t>
            </a:r>
            <a:r>
              <a:rPr lang="en-US" sz="100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pselect</a:t>
            </a:r>
            <a:r>
              <a:rPr lang="en-US" sz="1000" i="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t      				        UU and other institutions. </a:t>
            </a:r>
          </a:p>
        </p:txBody>
      </p:sp>
      <p:sp>
        <p:nvSpPr>
          <p:cNvPr id="18" name="Tekstballon: ovaal 17">
            <a:extLst>
              <a:ext uri="{FF2B5EF4-FFF2-40B4-BE49-F238E27FC236}">
                <a16:creationId xmlns:a16="http://schemas.microsoft.com/office/drawing/2014/main" id="{5579A50F-4DC4-B3D5-4566-D2D4EBF4A896}"/>
              </a:ext>
            </a:extLst>
          </p:cNvPr>
          <p:cNvSpPr/>
          <p:nvPr/>
        </p:nvSpPr>
        <p:spPr>
          <a:xfrm>
            <a:off x="4242224" y="5180325"/>
            <a:ext cx="2922457" cy="1064015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ctr">
              <a:spcBef>
                <a:spcPts val="0"/>
              </a:spcBef>
              <a:spcAft>
                <a:spcPts val="0"/>
              </a:spcAft>
            </a:pPr>
            <a:r>
              <a:rPr lang="en-US" sz="1000" b="0" i="0" dirty="0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T Medical </a:t>
            </a:r>
            <a:r>
              <a:rPr lang="en-US" sz="1000" dirty="0">
                <a:solidFill>
                  <a:srgbClr val="22222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ures</a:t>
            </a:r>
            <a:r>
              <a:rPr lang="en-US" sz="1000" b="0" i="0" dirty="0">
                <a:solidFill>
                  <a:srgbClr val="22222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5 M. in Series B Funding to revolutionize Coronary Artery Bypass Surgery</a:t>
            </a:r>
          </a:p>
        </p:txBody>
      </p:sp>
      <p:sp>
        <p:nvSpPr>
          <p:cNvPr id="21" name="Tekstballon: ovaal 20">
            <a:extLst>
              <a:ext uri="{FF2B5EF4-FFF2-40B4-BE49-F238E27FC236}">
                <a16:creationId xmlns:a16="http://schemas.microsoft.com/office/drawing/2014/main" id="{F4E7CD82-6E80-4A76-0D7E-1879F309BA3D}"/>
              </a:ext>
            </a:extLst>
          </p:cNvPr>
          <p:cNvSpPr/>
          <p:nvPr/>
        </p:nvSpPr>
        <p:spPr>
          <a:xfrm>
            <a:off x="265278" y="4943045"/>
            <a:ext cx="2571389" cy="1046454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ged</a:t>
            </a:r>
            <a:r>
              <a:rPr lang="en-US" sz="1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ures 21,5 M. Series A Extension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E6BD66-D841-DF94-46BD-64FC8CF42FF0}"/>
              </a:ext>
            </a:extLst>
          </p:cNvPr>
          <p:cNvSpPr txBox="1"/>
          <p:nvPr/>
        </p:nvSpPr>
        <p:spPr>
          <a:xfrm>
            <a:off x="265278" y="327434"/>
            <a:ext cx="22383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highlight>
                  <a:srgbClr val="57AF9F"/>
                </a:highlight>
              </a:rPr>
              <a:t>Licensing</a:t>
            </a:r>
            <a:r>
              <a:rPr lang="en-US" dirty="0">
                <a:highlight>
                  <a:srgbClr val="57AF9F"/>
                </a:highlight>
              </a:rPr>
              <a:t>…..</a:t>
            </a:r>
            <a:endParaRPr lang="nl-NL" dirty="0">
              <a:highlight>
                <a:srgbClr val="57AF9F"/>
              </a:highlight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138BA1-66C7-4CF3-B916-EEB866425E17}"/>
              </a:ext>
            </a:extLst>
          </p:cNvPr>
          <p:cNvSpPr txBox="1"/>
          <p:nvPr/>
        </p:nvSpPr>
        <p:spPr>
          <a:xfrm>
            <a:off x="4028250" y="3258747"/>
            <a:ext cx="33566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57AF9F"/>
                </a:highlight>
              </a:rPr>
              <a:t>…. </a:t>
            </a:r>
            <a:r>
              <a:rPr lang="en-US" sz="2800" dirty="0">
                <a:highlight>
                  <a:srgbClr val="57AF9F"/>
                </a:highlight>
              </a:rPr>
              <a:t>and</a:t>
            </a:r>
            <a:r>
              <a:rPr lang="en-US" dirty="0">
                <a:highlight>
                  <a:srgbClr val="57AF9F"/>
                </a:highlight>
              </a:rPr>
              <a:t> </a:t>
            </a:r>
            <a:r>
              <a:rPr lang="en-US" sz="2800" dirty="0" err="1">
                <a:highlight>
                  <a:srgbClr val="57AF9F"/>
                </a:highlight>
              </a:rPr>
              <a:t>venturebuilding</a:t>
            </a:r>
            <a:endParaRPr lang="nl-NL" sz="2800" dirty="0">
              <a:highlight>
                <a:srgbClr val="57AF9F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B7FCF2-923D-DF33-E3F1-6E1FDBDF76EE}"/>
              </a:ext>
            </a:extLst>
          </p:cNvPr>
          <p:cNvSpPr txBox="1"/>
          <p:nvPr/>
        </p:nvSpPr>
        <p:spPr>
          <a:xfrm>
            <a:off x="333179" y="1245673"/>
            <a:ext cx="201843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Licentie</a:t>
            </a:r>
            <a:r>
              <a:rPr lang="en-US" dirty="0"/>
              <a:t> </a:t>
            </a:r>
            <a:r>
              <a:rPr lang="en-US" dirty="0" err="1"/>
              <a:t>CoPiloot</a:t>
            </a:r>
            <a:endParaRPr lang="en-US" dirty="0"/>
          </a:p>
          <a:p>
            <a:r>
              <a:rPr lang="en-US" dirty="0" err="1"/>
              <a:t>Licentie</a:t>
            </a:r>
            <a:r>
              <a:rPr lang="en-US" dirty="0"/>
              <a:t> </a:t>
            </a:r>
            <a:r>
              <a:rPr lang="en-US" dirty="0" err="1"/>
              <a:t>Lumox</a:t>
            </a:r>
            <a:endParaRPr lang="en-US" dirty="0"/>
          </a:p>
          <a:p>
            <a:r>
              <a:rPr lang="en-US" dirty="0" err="1"/>
              <a:t>Licentie</a:t>
            </a:r>
            <a:r>
              <a:rPr lang="en-US" dirty="0"/>
              <a:t> TS Vascular</a:t>
            </a:r>
          </a:p>
          <a:p>
            <a:r>
              <a:rPr lang="en-US" dirty="0" err="1"/>
              <a:t>Licentie</a:t>
            </a:r>
            <a:r>
              <a:rPr lang="en-US" dirty="0"/>
              <a:t> </a:t>
            </a:r>
            <a:r>
              <a:rPr lang="en-US" dirty="0" err="1"/>
              <a:t>ArgenX</a:t>
            </a:r>
            <a:endParaRPr lang="nl-NL" dirty="0"/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FAF66115-7BED-16AE-32E9-8501654D8C2A}"/>
              </a:ext>
            </a:extLst>
          </p:cNvPr>
          <p:cNvSpPr/>
          <p:nvPr/>
        </p:nvSpPr>
        <p:spPr>
          <a:xfrm>
            <a:off x="3393107" y="3923890"/>
            <a:ext cx="2104496" cy="983099"/>
          </a:xfrm>
          <a:prstGeom prst="wedgeRoundRect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SentryX</a:t>
            </a:r>
            <a:r>
              <a:rPr lang="en-US" dirty="0"/>
              <a:t> presents first Clinical Results</a:t>
            </a:r>
            <a:endParaRPr lang="nl-NL" dirty="0"/>
          </a:p>
        </p:txBody>
      </p:sp>
      <p:pic>
        <p:nvPicPr>
          <p:cNvPr id="8" name="Picture 5" descr="CryoCloud secures a 500k pre-seed investment to accelerate structure- based  drug design with their cloud-native cryo-EM data analysis platform –  Utrecht Holdings Seed Fund">
            <a:extLst>
              <a:ext uri="{FF2B5EF4-FFF2-40B4-BE49-F238E27FC236}">
                <a16:creationId xmlns:a16="http://schemas.microsoft.com/office/drawing/2014/main" id="{9864E95C-9655-9EE3-F523-18E9A941E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054" y="326144"/>
            <a:ext cx="1771175" cy="1675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tar: 6 Points 12">
            <a:extLst>
              <a:ext uri="{FF2B5EF4-FFF2-40B4-BE49-F238E27FC236}">
                <a16:creationId xmlns:a16="http://schemas.microsoft.com/office/drawing/2014/main" id="{A8A0C3C8-1E63-C45C-9F4E-A88CA539CC43}"/>
              </a:ext>
            </a:extLst>
          </p:cNvPr>
          <p:cNvSpPr/>
          <p:nvPr/>
        </p:nvSpPr>
        <p:spPr>
          <a:xfrm>
            <a:off x="4091834" y="861011"/>
            <a:ext cx="2398398" cy="2458528"/>
          </a:xfrm>
          <a:prstGeom prst="star6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CryoCloud</a:t>
            </a:r>
            <a:r>
              <a:rPr lang="en-US" dirty="0"/>
              <a:t> raises 2 M. in Seed Round</a:t>
            </a:r>
            <a:endParaRPr lang="nl-NL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BE98D6D-E14D-4E04-25B9-C0C8D7FDD3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9448" y="6317666"/>
            <a:ext cx="2225233" cy="81541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9D6A771-1403-0E79-5AB1-1E2A86A38C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89" y="7285294"/>
            <a:ext cx="1778617" cy="678765"/>
          </a:xfrm>
          <a:prstGeom prst="rect">
            <a:avLst/>
          </a:prstGeom>
        </p:spPr>
      </p:pic>
      <p:pic>
        <p:nvPicPr>
          <p:cNvPr id="39" name="Picture 2" descr="Cordys Analytics Awarded Prestigious Eurostars Grant for AI-Powered  Cardiovascular Diagnostics Project – Utrecht Holdings Seed Fund">
            <a:extLst>
              <a:ext uri="{FF2B5EF4-FFF2-40B4-BE49-F238E27FC236}">
                <a16:creationId xmlns:a16="http://schemas.microsoft.com/office/drawing/2014/main" id="{AE6FC856-D8E9-DFED-4B7A-92F6B2FBDF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89" y="3781967"/>
            <a:ext cx="1661984" cy="933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Speech Bubble: Oval 40">
            <a:extLst>
              <a:ext uri="{FF2B5EF4-FFF2-40B4-BE49-F238E27FC236}">
                <a16:creationId xmlns:a16="http://schemas.microsoft.com/office/drawing/2014/main" id="{3AFE0396-50E1-5EAC-5140-F729C93C073F}"/>
              </a:ext>
            </a:extLst>
          </p:cNvPr>
          <p:cNvSpPr/>
          <p:nvPr/>
        </p:nvSpPr>
        <p:spPr>
          <a:xfrm>
            <a:off x="465719" y="2796197"/>
            <a:ext cx="3036200" cy="975628"/>
          </a:xfrm>
          <a:prstGeom prst="wedgeEllipseCallou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Cordys</a:t>
            </a:r>
            <a:r>
              <a:rPr lang="en-US" dirty="0"/>
              <a:t> Analytics is now MDR &amp; ISO 13485 certified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06842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01FA4E-E9E1-4D7D-B19E-D1D35CF1A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-102393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01FA4E-E9E1-4D7D-B19E-D1D35CF1A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-102393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DCA8AA4-484E-456B-9355-D8BBAEF8DA8E}"/>
              </a:ext>
            </a:extLst>
          </p:cNvPr>
          <p:cNvSpPr txBox="1"/>
          <p:nvPr/>
        </p:nvSpPr>
        <p:spPr>
          <a:xfrm>
            <a:off x="249238" y="226637"/>
            <a:ext cx="21900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Merriweather" panose="00000500000000000000" pitchFamily="2" charset="0"/>
              </a:rPr>
              <a:t>And also..</a:t>
            </a:r>
            <a:endParaRPr kumimoji="0" lang="nl-NL" sz="3200" b="1" i="0" u="none" strike="noStrike" kern="1200" cap="none" spc="0" normalizeH="0" baseline="0" noProof="0">
              <a:ln>
                <a:noFill/>
              </a:ln>
              <a:solidFill>
                <a:srgbClr val="706F6F"/>
              </a:solidFill>
              <a:effectLst/>
              <a:uLnTx/>
              <a:uFillTx/>
              <a:latin typeface="Merriweather" panose="00000500000000000000" pitchFamily="2" charset="0"/>
            </a:endParaRP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C3AE4849-9BCA-E99E-AFD5-0ECE53399321}"/>
              </a:ext>
            </a:extLst>
          </p:cNvPr>
          <p:cNvSpPr txBox="1"/>
          <p:nvPr/>
        </p:nvSpPr>
        <p:spPr>
          <a:xfrm>
            <a:off x="381723" y="907487"/>
            <a:ext cx="640288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e launched a new marketing campaign: Make it Ma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UCANACT won the </a:t>
            </a:r>
            <a:r>
              <a:rPr lang="en-US" sz="1600" b="1" dirty="0" err="1"/>
              <a:t>Ureka</a:t>
            </a:r>
            <a:r>
              <a:rPr lang="en-US" sz="1600" b="1" dirty="0"/>
              <a:t> Megachalle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NeuroNova</a:t>
            </a:r>
            <a:r>
              <a:rPr lang="en-US" sz="1600" b="1" dirty="0"/>
              <a:t> TX was winner Venture Challenge spring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TrustHub</a:t>
            </a:r>
            <a:r>
              <a:rPr lang="en-US" sz="1600" b="1" dirty="0"/>
              <a:t> and UCANACT got a TTT-AI vou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Utrecht Holdings now is a part of the consortium TTT Greente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Francoise Dekker and Tim </a:t>
            </a:r>
            <a:r>
              <a:rPr lang="en-US" sz="1600" b="1" dirty="0" err="1"/>
              <a:t>Sakkers</a:t>
            </a:r>
            <a:r>
              <a:rPr lang="en-US" sz="1600" b="1" dirty="0"/>
              <a:t>, joined the Faculty of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Three new spin-offs have been formed: UCANACT, </a:t>
            </a:r>
            <a:r>
              <a:rPr lang="en-US" sz="1600" b="1" dirty="0" err="1"/>
              <a:t>Artheroscreen</a:t>
            </a:r>
            <a:r>
              <a:rPr lang="en-US" sz="1600" b="1" dirty="0"/>
              <a:t> and </a:t>
            </a:r>
            <a:r>
              <a:rPr lang="en-US" sz="1600" b="1" dirty="0" err="1"/>
              <a:t>Lumox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nd many mo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r>
              <a:rPr lang="en-US" sz="1600" b="1" dirty="0"/>
              <a:t>And we support all of that with this fantastic team!</a:t>
            </a:r>
            <a:endParaRPr lang="en-US" sz="2400" b="1" dirty="0"/>
          </a:p>
        </p:txBody>
      </p:sp>
      <p:sp>
        <p:nvSpPr>
          <p:cNvPr id="2" name="TextBox 18">
            <a:extLst>
              <a:ext uri="{FF2B5EF4-FFF2-40B4-BE49-F238E27FC236}">
                <a16:creationId xmlns:a16="http://schemas.microsoft.com/office/drawing/2014/main" id="{28159154-8B86-8232-F7C7-C6BD934B8088}"/>
              </a:ext>
            </a:extLst>
          </p:cNvPr>
          <p:cNvSpPr txBox="1"/>
          <p:nvPr/>
        </p:nvSpPr>
        <p:spPr>
          <a:xfrm>
            <a:off x="5356994" y="8367986"/>
            <a:ext cx="21937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i="1" dirty="0">
                <a:solidFill>
                  <a:srgbClr val="706F6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trecht Holdings Impact 2025</a:t>
            </a:r>
            <a:endParaRPr lang="nl-NL" sz="1100" i="1" dirty="0">
              <a:solidFill>
                <a:srgbClr val="706F6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F1BA435-4059-5ECC-C6AA-5B1225C260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641965"/>
            <a:ext cx="7559675" cy="34993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EF691AB-A4D9-5900-8536-D97FB70B0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979" y="7075073"/>
            <a:ext cx="2133785" cy="731583"/>
          </a:xfrm>
          <a:prstGeom prst="rect">
            <a:avLst/>
          </a:prstGeom>
        </p:spPr>
      </p:pic>
      <p:pic>
        <p:nvPicPr>
          <p:cNvPr id="29" name="Afbeelding 6">
            <a:extLst>
              <a:ext uri="{FF2B5EF4-FFF2-40B4-BE49-F238E27FC236}">
                <a16:creationId xmlns:a16="http://schemas.microsoft.com/office/drawing/2014/main" id="{7A81F1E0-8F01-CDC3-4B18-25D700CAAD8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9441"/>
          <a:stretch/>
        </p:blipFill>
        <p:spPr>
          <a:xfrm>
            <a:off x="4127483" y="6788589"/>
            <a:ext cx="2657121" cy="140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740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hDOcy1QGohMXCot_9S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hDOcy1QGohMXCot_9S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qAMsXQAApLD0.Sfi8g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ACC66B8F61584CA23EDFEEBF1E2044" ma:contentTypeVersion="20" ma:contentTypeDescription="Create a new document." ma:contentTypeScope="" ma:versionID="eec44178e1e0372e39747d3e568e1f78">
  <xsd:schema xmlns:xsd="http://www.w3.org/2001/XMLSchema" xmlns:xs="http://www.w3.org/2001/XMLSchema" xmlns:p="http://schemas.microsoft.com/office/2006/metadata/properties" xmlns:ns2="f6e36003-ec84-4095-869f-029b855268b3" xmlns:ns3="077f0ff0-c5ec-42fc-a2e0-586d5f3f8a01" xmlns:ns4="53df6a5f-9334-4503-a845-5e05459a4c71" targetNamespace="http://schemas.microsoft.com/office/2006/metadata/properties" ma:root="true" ma:fieldsID="bf137b77fb5b0254f64672d769845313" ns2:_="" ns3:_="" ns4:_="">
    <xsd:import namespace="f6e36003-ec84-4095-869f-029b855268b3"/>
    <xsd:import namespace="077f0ff0-c5ec-42fc-a2e0-586d5f3f8a01"/>
    <xsd:import namespace="53df6a5f-9334-4503-a845-5e05459a4c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e36003-ec84-4095-869f-029b85526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b077af7-eccc-41ba-8726-6d08c81cb05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7f0ff0-c5ec-42fc-a2e0-586d5f3f8a0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df6a5f-9334-4503-a845-5e05459a4c71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ee24134f-43bf-480d-b0ce-fbf7c89e4591}" ma:internalName="TaxCatchAll" ma:showField="CatchAllData" ma:web="077f0ff0-c5ec-42fc-a2e0-586d5f3f8a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6e36003-ec84-4095-869f-029b855268b3">
      <Terms xmlns="http://schemas.microsoft.com/office/infopath/2007/PartnerControls"/>
    </lcf76f155ced4ddcb4097134ff3c332f>
    <TaxCatchAll xmlns="53df6a5f-9334-4503-a845-5e05459a4c7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6B65C9-7B89-4E7E-ACA2-2D37514425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e36003-ec84-4095-869f-029b855268b3"/>
    <ds:schemaRef ds:uri="077f0ff0-c5ec-42fc-a2e0-586d5f3f8a01"/>
    <ds:schemaRef ds:uri="53df6a5f-9334-4503-a845-5e05459a4c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CFFC08A-D262-41A3-8E7F-83A7739E0726}">
  <ds:schemaRefs>
    <ds:schemaRef ds:uri="53df6a5f-9334-4503-a845-5e05459a4c71"/>
    <ds:schemaRef ds:uri="f6e36003-ec84-4095-869f-029b855268b3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FC7C638-E11E-4878-8D94-672E2C6E48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373</Words>
  <Application>Microsoft Office PowerPoint</Application>
  <PresentationFormat>Custom</PresentationFormat>
  <Paragraphs>9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Merriweather</vt:lpstr>
      <vt:lpstr>Open Sans</vt:lpstr>
      <vt:lpstr>Open Sans  </vt:lpstr>
      <vt:lpstr>Trebuchet MS</vt:lpstr>
      <vt:lpstr>Office Theme</vt:lpstr>
      <vt:lpstr>1_Office Theme</vt:lpstr>
      <vt:lpstr>think-cell Slide</vt:lpstr>
      <vt:lpstr>2025  highlight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 in numbers</dc:title>
  <dc:creator>Bruin, J. de (Jaap)</dc:creator>
  <cp:lastModifiedBy>Dagelet, A.J. (Anouk)</cp:lastModifiedBy>
  <cp:revision>36</cp:revision>
  <dcterms:created xsi:type="dcterms:W3CDTF">2021-01-07T10:55:48Z</dcterms:created>
  <dcterms:modified xsi:type="dcterms:W3CDTF">2026-01-27T12:1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ACC66B8F61584CA23EDFEEBF1E2044</vt:lpwstr>
  </property>
  <property fmtid="{D5CDD505-2E9C-101B-9397-08002B2CF9AE}" pid="3" name="MediaServiceImageTags">
    <vt:lpwstr/>
  </property>
</Properties>
</file>